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93" r:id="rId6"/>
    <p:sldMasterId id="2147483735" r:id="rId7"/>
  </p:sldMasterIdLst>
  <p:notesMasterIdLst>
    <p:notesMasterId r:id="rId21"/>
  </p:notesMasterIdLst>
  <p:sldIdLst>
    <p:sldId id="3947" r:id="rId8"/>
    <p:sldId id="838840200" r:id="rId9"/>
    <p:sldId id="2147307523" r:id="rId10"/>
    <p:sldId id="2147307524" r:id="rId11"/>
    <p:sldId id="2147307525" r:id="rId12"/>
    <p:sldId id="2147307526" r:id="rId13"/>
    <p:sldId id="4096" r:id="rId14"/>
    <p:sldId id="2147307520" r:id="rId15"/>
    <p:sldId id="838840204" r:id="rId16"/>
    <p:sldId id="838840203" r:id="rId17"/>
    <p:sldId id="2147307518" r:id="rId18"/>
    <p:sldId id="838839870" r:id="rId19"/>
    <p:sldId id="49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force" id="{ACE3090A-99D2-4CFE-91D5-8FFF5269FA37}">
          <p14:sldIdLst>
            <p14:sldId id="3947"/>
            <p14:sldId id="838840200"/>
            <p14:sldId id="2147307523"/>
            <p14:sldId id="2147307524"/>
            <p14:sldId id="2147307525"/>
            <p14:sldId id="2147307526"/>
            <p14:sldId id="4096"/>
            <p14:sldId id="2147307520"/>
            <p14:sldId id="838840204"/>
            <p14:sldId id="838840203"/>
            <p14:sldId id="2147307518"/>
            <p14:sldId id="838839870"/>
            <p14:sldId id="49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Vaz" initials="PV" lastIdx="16" clrIdx="0">
    <p:extLst>
      <p:ext uri="{19B8F6BF-5375-455C-9EA6-DF929625EA0E}">
        <p15:presenceInfo xmlns:p15="http://schemas.microsoft.com/office/powerpoint/2012/main" userId="S::pedro.vaz@accenture.com::ce26620d-8ffe-4aa6-abd7-19d547ea6f29" providerId="AD"/>
      </p:ext>
    </p:extLst>
  </p:cmAuthor>
  <p:cmAuthor id="2" name="Tyagi, Vikas X." initials="TX" lastIdx="2" clrIdx="1">
    <p:extLst>
      <p:ext uri="{19B8F6BF-5375-455C-9EA6-DF929625EA0E}">
        <p15:presenceInfo xmlns:p15="http://schemas.microsoft.com/office/powerpoint/2012/main" userId="S::vikas.x.tyagi@accenture.com::e6b160a9-e15d-429f-9bb1-3f6b2628b8a8" providerId="AD"/>
      </p:ext>
    </p:extLst>
  </p:cmAuthor>
  <p:cmAuthor id="3" name="Reynolds, Tim" initials="RT" lastIdx="1" clrIdx="2">
    <p:extLst>
      <p:ext uri="{19B8F6BF-5375-455C-9EA6-DF929625EA0E}">
        <p15:presenceInfo xmlns:p15="http://schemas.microsoft.com/office/powerpoint/2012/main" userId="S::tim.reynolds@accenture.com::474805a4-3ae6-42dc-8e53-f2601aee5a34" providerId="AD"/>
      </p:ext>
    </p:extLst>
  </p:cmAuthor>
  <p:cmAuthor id="4" name="Smith3, David" initials="SD" lastIdx="12" clrIdx="3">
    <p:extLst>
      <p:ext uri="{19B8F6BF-5375-455C-9EA6-DF929625EA0E}">
        <p15:presenceInfo xmlns:p15="http://schemas.microsoft.com/office/powerpoint/2012/main" userId="S::David.Smith32@uk.nationalgrid.com::02ddaf5c-1808-4dae-bb4b-7bb85b25d22d" providerId="AD"/>
      </p:ext>
    </p:extLst>
  </p:cmAuthor>
  <p:cmAuthor id="5" name="Bharj, Kam" initials="BK" lastIdx="1" clrIdx="4">
    <p:extLst>
      <p:ext uri="{19B8F6BF-5375-455C-9EA6-DF929625EA0E}">
        <p15:presenceInfo xmlns:p15="http://schemas.microsoft.com/office/powerpoint/2012/main" userId="S::Kam.Bharj@uk.nationalgrid.com::c346c863-01be-4a71-ba36-8d40a81621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C32"/>
    <a:srgbClr val="00148C"/>
    <a:srgbClr val="FA461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455410-1E34-41AE-817E-0F0AE0B3F8E3}" v="4224" dt="2021-07-06T16:51:59.920"/>
    <p1510:client id="{5646A5FD-C087-F54A-950C-8F57B777C5CB}" v="184" dt="2021-07-06T16:39:56.860"/>
    <p1510:client id="{8384AF98-EF35-4750-97E6-12EFBE471E10}" v="4744" dt="2021-07-06T10:37:11.085"/>
    <p1510:client id="{A9041E5D-6FE7-462F-A6BD-52FEE9E40C8D}" v="875" dt="2021-07-06T16:46:29.276"/>
    <p1510:client id="{ACE9FE2A-C431-4B46-A7CB-4BFE06BB5A8D}" v="34" dt="2021-07-06T20:30:25.5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7" d="100"/>
          <a:sy n="127" d="100"/>
        </p:scale>
        <p:origin x="182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arj, Kam" userId="S::kam.bharj@uk.nationalgrid.com::c346c863-01be-4a71-ba36-8d40a81621a7" providerId="AD" clId="Web-{E0DA3A84-FDD6-037B-35C7-C427C985E169}"/>
    <pc:docChg chg="modSld">
      <pc:chgData name="Bharj, Kam" userId="S::kam.bharj@uk.nationalgrid.com::c346c863-01be-4a71-ba36-8d40a81621a7" providerId="AD" clId="Web-{E0DA3A84-FDD6-037B-35C7-C427C985E169}" dt="2021-06-30T15:43:56.675" v="43" actId="20577"/>
      <pc:docMkLst>
        <pc:docMk/>
      </pc:docMkLst>
      <pc:sldChg chg="modSp">
        <pc:chgData name="Bharj, Kam" userId="S::kam.bharj@uk.nationalgrid.com::c346c863-01be-4a71-ba36-8d40a81621a7" providerId="AD" clId="Web-{E0DA3A84-FDD6-037B-35C7-C427C985E169}" dt="2021-06-30T15:43:56.675" v="43" actId="20577"/>
        <pc:sldMkLst>
          <pc:docMk/>
          <pc:sldMk cId="185651066" sldId="838840198"/>
        </pc:sldMkLst>
        <pc:spChg chg="mod">
          <ac:chgData name="Bharj, Kam" userId="S::kam.bharj@uk.nationalgrid.com::c346c863-01be-4a71-ba36-8d40a81621a7" providerId="AD" clId="Web-{E0DA3A84-FDD6-037B-35C7-C427C985E169}" dt="2021-06-30T15:43:56.675" v="43" actId="20577"/>
          <ac:spMkLst>
            <pc:docMk/>
            <pc:sldMk cId="185651066" sldId="838840198"/>
            <ac:spMk id="6" creationId="{8FBBDC34-12B1-418F-823E-A0B19E6ACFA3}"/>
          </ac:spMkLst>
        </pc:spChg>
      </pc:sldChg>
      <pc:sldChg chg="modSp">
        <pc:chgData name="Bharj, Kam" userId="S::kam.bharj@uk.nationalgrid.com::c346c863-01be-4a71-ba36-8d40a81621a7" providerId="AD" clId="Web-{E0DA3A84-FDD6-037B-35C7-C427C985E169}" dt="2021-06-30T13:59:48.479" v="38" actId="20577"/>
        <pc:sldMkLst>
          <pc:docMk/>
          <pc:sldMk cId="1760984849" sldId="838840200"/>
        </pc:sldMkLst>
        <pc:spChg chg="mod">
          <ac:chgData name="Bharj, Kam" userId="S::kam.bharj@uk.nationalgrid.com::c346c863-01be-4a71-ba36-8d40a81621a7" providerId="AD" clId="Web-{E0DA3A84-FDD6-037B-35C7-C427C985E169}" dt="2021-06-30T13:59:48.479" v="38" actId="20577"/>
          <ac:spMkLst>
            <pc:docMk/>
            <pc:sldMk cId="1760984849" sldId="838840200"/>
            <ac:spMk id="16" creationId="{642D4DBA-35BE-4E67-BFD8-A85ADA2BDE37}"/>
          </ac:spMkLst>
        </pc:spChg>
      </pc:sldChg>
      <pc:sldChg chg="modSp">
        <pc:chgData name="Bharj, Kam" userId="S::kam.bharj@uk.nationalgrid.com::c346c863-01be-4a71-ba36-8d40a81621a7" providerId="AD" clId="Web-{E0DA3A84-FDD6-037B-35C7-C427C985E169}" dt="2021-06-30T13:33:21.206" v="29" actId="20577"/>
        <pc:sldMkLst>
          <pc:docMk/>
          <pc:sldMk cId="4170364590" sldId="838840207"/>
        </pc:sldMkLst>
        <pc:spChg chg="mod">
          <ac:chgData name="Bharj, Kam" userId="S::kam.bharj@uk.nationalgrid.com::c346c863-01be-4a71-ba36-8d40a81621a7" providerId="AD" clId="Web-{E0DA3A84-FDD6-037B-35C7-C427C985E169}" dt="2021-06-30T13:33:21.206" v="29" actId="20577"/>
          <ac:spMkLst>
            <pc:docMk/>
            <pc:sldMk cId="4170364590" sldId="838840207"/>
            <ac:spMk id="3" creationId="{BB8A5118-1B3B-459F-9BE2-A028887B071D}"/>
          </ac:spMkLst>
        </pc:spChg>
      </pc:sldChg>
    </pc:docChg>
  </pc:docChgLst>
  <pc:docChgLst>
    <pc:chgData name="Senter, Daniel" userId="95cb641d-0e88-4633-8fc4-83037c5aa6c8" providerId="ADAL" clId="{8384AF98-EF35-4750-97E6-12EFBE471E10}"/>
    <pc:docChg chg="undo redo custSel addSld delSld modSld sldOrd modSection">
      <pc:chgData name="Senter, Daniel" userId="95cb641d-0e88-4633-8fc4-83037c5aa6c8" providerId="ADAL" clId="{8384AF98-EF35-4750-97E6-12EFBE471E10}" dt="2021-07-06T10:37:11.085" v="12072" actId="20577"/>
      <pc:docMkLst>
        <pc:docMk/>
      </pc:docMkLst>
      <pc:sldChg chg="addSp modSp add ord">
        <pc:chgData name="Senter, Daniel" userId="95cb641d-0e88-4633-8fc4-83037c5aa6c8" providerId="ADAL" clId="{8384AF98-EF35-4750-97E6-12EFBE471E10}" dt="2021-06-28T10:43:40.474" v="2709" actId="1076"/>
        <pc:sldMkLst>
          <pc:docMk/>
          <pc:sldMk cId="1097472054" sldId="297"/>
        </pc:sldMkLst>
        <pc:spChg chg="add mod">
          <ac:chgData name="Senter, Daniel" userId="95cb641d-0e88-4633-8fc4-83037c5aa6c8" providerId="ADAL" clId="{8384AF98-EF35-4750-97E6-12EFBE471E10}" dt="2021-06-28T10:39:28.860" v="2650" actId="20577"/>
          <ac:spMkLst>
            <pc:docMk/>
            <pc:sldMk cId="1097472054" sldId="297"/>
            <ac:spMk id="5" creationId="{F7612630-1B6C-4022-9CED-4717622BF13F}"/>
          </ac:spMkLst>
        </pc:spChg>
        <pc:spChg chg="mod">
          <ac:chgData name="Senter, Daniel" userId="95cb641d-0e88-4633-8fc4-83037c5aa6c8" providerId="ADAL" clId="{8384AF98-EF35-4750-97E6-12EFBE471E10}" dt="2021-06-28T10:43:40.474" v="2709" actId="1076"/>
          <ac:spMkLst>
            <pc:docMk/>
            <pc:sldMk cId="1097472054" sldId="297"/>
            <ac:spMk id="34" creationId="{9B2DDABF-1CE3-4C61-89C6-1354A017A625}"/>
          </ac:spMkLst>
        </pc:spChg>
        <pc:picChg chg="mod">
          <ac:chgData name="Senter, Daniel" userId="95cb641d-0e88-4633-8fc4-83037c5aa6c8" providerId="ADAL" clId="{8384AF98-EF35-4750-97E6-12EFBE471E10}" dt="2021-06-28T10:38:59.484" v="2590" actId="14100"/>
          <ac:picMkLst>
            <pc:docMk/>
            <pc:sldMk cId="1097472054" sldId="297"/>
            <ac:picMk id="35" creationId="{A5F6029D-EAE2-4895-992C-043AF598C3DD}"/>
          </ac:picMkLst>
        </pc:picChg>
      </pc:sldChg>
      <pc:sldChg chg="modSp add">
        <pc:chgData name="Senter, Daniel" userId="95cb641d-0e88-4633-8fc4-83037c5aa6c8" providerId="ADAL" clId="{8384AF98-EF35-4750-97E6-12EFBE471E10}" dt="2021-06-28T08:11:06.966" v="67" actId="20577"/>
        <pc:sldMkLst>
          <pc:docMk/>
          <pc:sldMk cId="136374311" sldId="3947"/>
        </pc:sldMkLst>
        <pc:spChg chg="mod">
          <ac:chgData name="Senter, Daniel" userId="95cb641d-0e88-4633-8fc4-83037c5aa6c8" providerId="ADAL" clId="{8384AF98-EF35-4750-97E6-12EFBE471E10}" dt="2021-06-28T08:11:06.966" v="67" actId="20577"/>
          <ac:spMkLst>
            <pc:docMk/>
            <pc:sldMk cId="136374311" sldId="3947"/>
            <ac:spMk id="2" creationId="{00000000-0000-0000-0000-000000000000}"/>
          </ac:spMkLst>
        </pc:spChg>
        <pc:spChg chg="mod">
          <ac:chgData name="Senter, Daniel" userId="95cb641d-0e88-4633-8fc4-83037c5aa6c8" providerId="ADAL" clId="{8384AF98-EF35-4750-97E6-12EFBE471E10}" dt="2021-06-28T08:10:29.736" v="65" actId="6549"/>
          <ac:spMkLst>
            <pc:docMk/>
            <pc:sldMk cId="136374311" sldId="3947"/>
            <ac:spMk id="3" creationId="{00000000-0000-0000-0000-000000000000}"/>
          </ac:spMkLst>
        </pc:spChg>
      </pc:sldChg>
      <pc:sldChg chg="add ord">
        <pc:chgData name="Senter, Daniel" userId="95cb641d-0e88-4633-8fc4-83037c5aa6c8" providerId="ADAL" clId="{8384AF98-EF35-4750-97E6-12EFBE471E10}" dt="2021-06-30T15:00:15.878" v="4593"/>
        <pc:sldMkLst>
          <pc:docMk/>
          <pc:sldMk cId="2905865635" sldId="4096"/>
        </pc:sldMkLst>
      </pc:sldChg>
      <pc:sldChg chg="addSp delSp modSp ord delCm">
        <pc:chgData name="Senter, Daniel" userId="95cb641d-0e88-4633-8fc4-83037c5aa6c8" providerId="ADAL" clId="{8384AF98-EF35-4750-97E6-12EFBE471E10}" dt="2021-06-28T10:39:57.044" v="2663" actId="20577"/>
        <pc:sldMkLst>
          <pc:docMk/>
          <pc:sldMk cId="2640996553" sldId="838839870"/>
        </pc:sldMkLst>
        <pc:spChg chg="mod">
          <ac:chgData name="Senter, Daniel" userId="95cb641d-0e88-4633-8fc4-83037c5aa6c8" providerId="ADAL" clId="{8384AF98-EF35-4750-97E6-12EFBE471E10}" dt="2021-06-28T10:39:57.044" v="2663" actId="20577"/>
          <ac:spMkLst>
            <pc:docMk/>
            <pc:sldMk cId="2640996553" sldId="838839870"/>
            <ac:spMk id="7" creationId="{101693CD-F7CB-4884-A518-253D19D5F653}"/>
          </ac:spMkLst>
        </pc:spChg>
        <pc:spChg chg="add del">
          <ac:chgData name="Senter, Daniel" userId="95cb641d-0e88-4633-8fc4-83037c5aa6c8" providerId="ADAL" clId="{8384AF98-EF35-4750-97E6-12EFBE471E10}" dt="2021-06-28T08:31:22.430" v="1380" actId="478"/>
          <ac:spMkLst>
            <pc:docMk/>
            <pc:sldMk cId="2640996553" sldId="838839870"/>
            <ac:spMk id="16" creationId="{CCFA6A12-DF44-4CB8-948C-C1039A0D8960}"/>
          </ac:spMkLst>
        </pc:spChg>
        <pc:spChg chg="add mod">
          <ac:chgData name="Senter, Daniel" userId="95cb641d-0e88-4633-8fc4-83037c5aa6c8" providerId="ADAL" clId="{8384AF98-EF35-4750-97E6-12EFBE471E10}" dt="2021-06-28T08:31:27.314" v="1382" actId="1076"/>
          <ac:spMkLst>
            <pc:docMk/>
            <pc:sldMk cId="2640996553" sldId="838839870"/>
            <ac:spMk id="17" creationId="{CB92C748-06E1-42FF-B6B4-BD3E7857185C}"/>
          </ac:spMkLst>
        </pc:spChg>
      </pc:sldChg>
      <pc:sldChg chg="addSp modSp ord delCm">
        <pc:chgData name="Senter, Daniel" userId="95cb641d-0e88-4633-8fc4-83037c5aa6c8" providerId="ADAL" clId="{8384AF98-EF35-4750-97E6-12EFBE471E10}" dt="2021-06-28T08:31:32.743" v="1383" actId="1076"/>
        <pc:sldMkLst>
          <pc:docMk/>
          <pc:sldMk cId="1799875307" sldId="838839872"/>
        </pc:sldMkLst>
        <pc:spChg chg="add mod">
          <ac:chgData name="Senter, Daniel" userId="95cb641d-0e88-4633-8fc4-83037c5aa6c8" providerId="ADAL" clId="{8384AF98-EF35-4750-97E6-12EFBE471E10}" dt="2021-06-28T08:31:32.743" v="1383" actId="1076"/>
          <ac:spMkLst>
            <pc:docMk/>
            <pc:sldMk cId="1799875307" sldId="838839872"/>
            <ac:spMk id="78" creationId="{F00BF5A5-3B64-4D3E-B545-19C4B41D0EAC}"/>
          </ac:spMkLst>
        </pc:spChg>
      </pc:sldChg>
      <pc:sldChg chg="addSp modSp ord delCm">
        <pc:chgData name="Senter, Daniel" userId="95cb641d-0e88-4633-8fc4-83037c5aa6c8" providerId="ADAL" clId="{8384AF98-EF35-4750-97E6-12EFBE471E10}" dt="2021-06-28T08:31:42.516" v="1385" actId="1076"/>
        <pc:sldMkLst>
          <pc:docMk/>
          <pc:sldMk cId="144652878" sldId="838839873"/>
        </pc:sldMkLst>
        <pc:spChg chg="add mod">
          <ac:chgData name="Senter, Daniel" userId="95cb641d-0e88-4633-8fc4-83037c5aa6c8" providerId="ADAL" clId="{8384AF98-EF35-4750-97E6-12EFBE471E10}" dt="2021-06-28T08:31:42.516" v="1385" actId="1076"/>
          <ac:spMkLst>
            <pc:docMk/>
            <pc:sldMk cId="144652878" sldId="838839873"/>
            <ac:spMk id="14" creationId="{ECE6F124-4DDA-40D0-AFAF-5BA2ECB4066F}"/>
          </ac:spMkLst>
        </pc:spChg>
      </pc:sldChg>
      <pc:sldChg chg="addSp modSp ord delCm">
        <pc:chgData name="Senter, Daniel" userId="95cb641d-0e88-4633-8fc4-83037c5aa6c8" providerId="ADAL" clId="{8384AF98-EF35-4750-97E6-12EFBE471E10}" dt="2021-06-28T10:40:23.411" v="2705" actId="20577"/>
        <pc:sldMkLst>
          <pc:docMk/>
          <pc:sldMk cId="1974710595" sldId="838839874"/>
        </pc:sldMkLst>
        <pc:spChg chg="add mod">
          <ac:chgData name="Senter, Daniel" userId="95cb641d-0e88-4633-8fc4-83037c5aa6c8" providerId="ADAL" clId="{8384AF98-EF35-4750-97E6-12EFBE471E10}" dt="2021-06-28T08:31:48.469" v="1386" actId="1076"/>
          <ac:spMkLst>
            <pc:docMk/>
            <pc:sldMk cId="1974710595" sldId="838839874"/>
            <ac:spMk id="17" creationId="{17798CB1-F49A-4F13-99A5-D5299C845BDD}"/>
          </ac:spMkLst>
        </pc:spChg>
        <pc:spChg chg="mod">
          <ac:chgData name="Senter, Daniel" userId="95cb641d-0e88-4633-8fc4-83037c5aa6c8" providerId="ADAL" clId="{8384AF98-EF35-4750-97E6-12EFBE471E10}" dt="2021-06-28T10:40:23.411" v="2705" actId="20577"/>
          <ac:spMkLst>
            <pc:docMk/>
            <pc:sldMk cId="1974710595" sldId="838839874"/>
            <ac:spMk id="18" creationId="{322E2038-8D77-45D0-AA16-D218A2D6F09F}"/>
          </ac:spMkLst>
        </pc:spChg>
      </pc:sldChg>
      <pc:sldChg chg="addSp modSp ord delCm">
        <pc:chgData name="Senter, Daniel" userId="95cb641d-0e88-4633-8fc4-83037c5aa6c8" providerId="ADAL" clId="{8384AF98-EF35-4750-97E6-12EFBE471E10}" dt="2021-06-28T08:31:36.956" v="1384" actId="1076"/>
        <pc:sldMkLst>
          <pc:docMk/>
          <pc:sldMk cId="533568231" sldId="838839877"/>
        </pc:sldMkLst>
        <pc:spChg chg="add mod">
          <ac:chgData name="Senter, Daniel" userId="95cb641d-0e88-4633-8fc4-83037c5aa6c8" providerId="ADAL" clId="{8384AF98-EF35-4750-97E6-12EFBE471E10}" dt="2021-06-28T08:31:36.956" v="1384" actId="1076"/>
          <ac:spMkLst>
            <pc:docMk/>
            <pc:sldMk cId="533568231" sldId="838839877"/>
            <ac:spMk id="59" creationId="{69C8C9DD-A8BB-472D-B34E-0CFD082610A1}"/>
          </ac:spMkLst>
        </pc:spChg>
      </pc:sldChg>
      <pc:sldChg chg="addSp delSp modSp add ord">
        <pc:chgData name="Senter, Daniel" userId="95cb641d-0e88-4633-8fc4-83037c5aa6c8" providerId="ADAL" clId="{8384AF98-EF35-4750-97E6-12EFBE471E10}" dt="2021-07-02T12:04:05.674" v="4750"/>
        <pc:sldMkLst>
          <pc:docMk/>
          <pc:sldMk cId="185651066" sldId="838840198"/>
        </pc:sldMkLst>
        <pc:spChg chg="mod">
          <ac:chgData name="Senter, Daniel" userId="95cb641d-0e88-4633-8fc4-83037c5aa6c8" providerId="ADAL" clId="{8384AF98-EF35-4750-97E6-12EFBE471E10}" dt="2021-06-30T14:09:21.075" v="4085" actId="20577"/>
          <ac:spMkLst>
            <pc:docMk/>
            <pc:sldMk cId="185651066" sldId="838840198"/>
            <ac:spMk id="2" creationId="{D1578A06-5D7F-48CD-ADC9-0A6414280E94}"/>
          </ac:spMkLst>
        </pc:spChg>
        <pc:spChg chg="add del mod">
          <ac:chgData name="Senter, Daniel" userId="95cb641d-0e88-4633-8fc4-83037c5aa6c8" providerId="ADAL" clId="{8384AF98-EF35-4750-97E6-12EFBE471E10}" dt="2021-06-30T14:31:09.448" v="4444" actId="478"/>
          <ac:spMkLst>
            <pc:docMk/>
            <pc:sldMk cId="185651066" sldId="838840198"/>
            <ac:spMk id="3" creationId="{B1066FB5-47FF-4786-94C4-D98B28068817}"/>
          </ac:spMkLst>
        </pc:spChg>
        <pc:spChg chg="add del mod">
          <ac:chgData name="Senter, Daniel" userId="95cb641d-0e88-4633-8fc4-83037c5aa6c8" providerId="ADAL" clId="{8384AF98-EF35-4750-97E6-12EFBE471E10}" dt="2021-06-28T08:24:37.625" v="1118" actId="478"/>
          <ac:spMkLst>
            <pc:docMk/>
            <pc:sldMk cId="185651066" sldId="838840198"/>
            <ac:spMk id="5" creationId="{22D4FA79-5EA1-4DDD-B7EA-0B6A698555FC}"/>
          </ac:spMkLst>
        </pc:spChg>
        <pc:spChg chg="add del mod">
          <ac:chgData name="Senter, Daniel" userId="95cb641d-0e88-4633-8fc4-83037c5aa6c8" providerId="ADAL" clId="{8384AF98-EF35-4750-97E6-12EFBE471E10}" dt="2021-06-30T14:02:39.199" v="3877"/>
          <ac:spMkLst>
            <pc:docMk/>
            <pc:sldMk cId="185651066" sldId="838840198"/>
            <ac:spMk id="5" creationId="{E20D0DE7-CA1B-471A-834C-358C9682B38D}"/>
          </ac:spMkLst>
        </pc:spChg>
        <pc:spChg chg="add del">
          <ac:chgData name="Senter, Daniel" userId="95cb641d-0e88-4633-8fc4-83037c5aa6c8" providerId="ADAL" clId="{8384AF98-EF35-4750-97E6-12EFBE471E10}" dt="2021-06-28T08:25:47.262" v="1129"/>
          <ac:spMkLst>
            <pc:docMk/>
            <pc:sldMk cId="185651066" sldId="838840198"/>
            <ac:spMk id="6" creationId="{2E744E8C-2B99-4D61-A45E-82926A6D8BF4}"/>
          </ac:spMkLst>
        </pc:spChg>
        <pc:spChg chg="add mod">
          <ac:chgData name="Senter, Daniel" userId="95cb641d-0e88-4633-8fc4-83037c5aa6c8" providerId="ADAL" clId="{8384AF98-EF35-4750-97E6-12EFBE471E10}" dt="2021-06-30T15:02:37.869" v="4679" actId="6549"/>
          <ac:spMkLst>
            <pc:docMk/>
            <pc:sldMk cId="185651066" sldId="838840198"/>
            <ac:spMk id="6" creationId="{8FBBDC34-12B1-418F-823E-A0B19E6ACFA3}"/>
          </ac:spMkLst>
        </pc:spChg>
        <pc:spChg chg="add del mod">
          <ac:chgData name="Senter, Daniel" userId="95cb641d-0e88-4633-8fc4-83037c5aa6c8" providerId="ADAL" clId="{8384AF98-EF35-4750-97E6-12EFBE471E10}" dt="2021-06-30T14:32:02.137" v="4458" actId="478"/>
          <ac:spMkLst>
            <pc:docMk/>
            <pc:sldMk cId="185651066" sldId="838840198"/>
            <ac:spMk id="8" creationId="{33C1F738-6673-4C05-8989-BAA6705E379B}"/>
          </ac:spMkLst>
        </pc:spChg>
        <pc:spChg chg="add del mod">
          <ac:chgData name="Senter, Daniel" userId="95cb641d-0e88-4633-8fc4-83037c5aa6c8" providerId="ADAL" clId="{8384AF98-EF35-4750-97E6-12EFBE471E10}" dt="2021-06-30T14:32:14.318" v="4460"/>
          <ac:spMkLst>
            <pc:docMk/>
            <pc:sldMk cId="185651066" sldId="838840198"/>
            <ac:spMk id="10" creationId="{C1617B59-8473-426B-A105-D34F29FEF355}"/>
          </ac:spMkLst>
        </pc:spChg>
        <pc:spChg chg="mod">
          <ac:chgData name="Senter, Daniel" userId="95cb641d-0e88-4633-8fc4-83037c5aa6c8" providerId="ADAL" clId="{8384AF98-EF35-4750-97E6-12EFBE471E10}" dt="2021-06-30T14:31:14.926" v="4447" actId="14100"/>
          <ac:spMkLst>
            <pc:docMk/>
            <pc:sldMk cId="185651066" sldId="838840198"/>
            <ac:spMk id="14" creationId="{538754E0-F034-4569-B53B-33A872030EC2}"/>
          </ac:spMkLst>
        </pc:spChg>
        <pc:picChg chg="add del mod">
          <ac:chgData name="Senter, Daniel" userId="95cb641d-0e88-4633-8fc4-83037c5aa6c8" providerId="ADAL" clId="{8384AF98-EF35-4750-97E6-12EFBE471E10}" dt="2021-06-30T14:32:00.945" v="4457" actId="478"/>
          <ac:picMkLst>
            <pc:docMk/>
            <pc:sldMk cId="185651066" sldId="838840198"/>
            <ac:picMk id="7" creationId="{1F4442CF-2BCD-45F9-A93C-9B507F4485A6}"/>
          </ac:picMkLst>
        </pc:picChg>
      </pc:sldChg>
      <pc:sldChg chg="addSp delSp modSp add ord">
        <pc:chgData name="Senter, Daniel" userId="95cb641d-0e88-4633-8fc4-83037c5aa6c8" providerId="ADAL" clId="{8384AF98-EF35-4750-97E6-12EFBE471E10}" dt="2021-07-06T10:22:07.156" v="11963"/>
        <pc:sldMkLst>
          <pc:docMk/>
          <pc:sldMk cId="1760984849" sldId="838840200"/>
        </pc:sldMkLst>
        <pc:spChg chg="mod">
          <ac:chgData name="Senter, Daniel" userId="95cb641d-0e88-4633-8fc4-83037c5aa6c8" providerId="ADAL" clId="{8384AF98-EF35-4750-97E6-12EFBE471E10}" dt="2021-07-06T10:12:10.324" v="11397" actId="6549"/>
          <ac:spMkLst>
            <pc:docMk/>
            <pc:sldMk cId="1760984849" sldId="838840200"/>
            <ac:spMk id="16" creationId="{642D4DBA-35BE-4E67-BFD8-A85ADA2BDE37}"/>
          </ac:spMkLst>
        </pc:spChg>
        <pc:graphicFrameChg chg="add mod modGraphic">
          <ac:chgData name="Senter, Daniel" userId="95cb641d-0e88-4633-8fc4-83037c5aa6c8" providerId="ADAL" clId="{8384AF98-EF35-4750-97E6-12EFBE471E10}" dt="2021-07-06T10:22:07.156" v="11963"/>
          <ac:graphicFrameMkLst>
            <pc:docMk/>
            <pc:sldMk cId="1760984849" sldId="838840200"/>
            <ac:graphicFrameMk id="3" creationId="{B9BE99C4-8C9A-49C3-8DEB-59632364C38C}"/>
          </ac:graphicFrameMkLst>
        </pc:graphicFrameChg>
        <pc:picChg chg="add del mod modCrop">
          <ac:chgData name="Senter, Daniel" userId="95cb641d-0e88-4633-8fc4-83037c5aa6c8" providerId="ADAL" clId="{8384AF98-EF35-4750-97E6-12EFBE471E10}" dt="2021-06-28T09:06:03.716" v="1515" actId="478"/>
          <ac:picMkLst>
            <pc:docMk/>
            <pc:sldMk cId="1760984849" sldId="838840200"/>
            <ac:picMk id="3" creationId="{31FE0D5E-7950-487F-87A6-D227A710554C}"/>
          </ac:picMkLst>
        </pc:picChg>
      </pc:sldChg>
      <pc:sldChg chg="addSp delSp modSp add ord">
        <pc:chgData name="Senter, Daniel" userId="95cb641d-0e88-4633-8fc4-83037c5aa6c8" providerId="ADAL" clId="{8384AF98-EF35-4750-97E6-12EFBE471E10}" dt="2021-06-28T10:41:01.428" v="2707" actId="14100"/>
        <pc:sldMkLst>
          <pc:docMk/>
          <pc:sldMk cId="305343245" sldId="838840202"/>
        </pc:sldMkLst>
        <pc:spChg chg="del">
          <ac:chgData name="Senter, Daniel" userId="95cb641d-0e88-4633-8fc4-83037c5aa6c8" providerId="ADAL" clId="{8384AF98-EF35-4750-97E6-12EFBE471E10}" dt="2021-06-28T08:28:23.911" v="1312" actId="478"/>
          <ac:spMkLst>
            <pc:docMk/>
            <pc:sldMk cId="305343245" sldId="838840202"/>
            <ac:spMk id="3" creationId="{4E6DC915-2BA1-46C8-AB34-1BAA2F85C072}"/>
          </ac:spMkLst>
        </pc:spChg>
        <pc:spChg chg="del">
          <ac:chgData name="Senter, Daniel" userId="95cb641d-0e88-4633-8fc4-83037c5aa6c8" providerId="ADAL" clId="{8384AF98-EF35-4750-97E6-12EFBE471E10}" dt="2021-06-28T08:28:38.229" v="1316" actId="478"/>
          <ac:spMkLst>
            <pc:docMk/>
            <pc:sldMk cId="305343245" sldId="838840202"/>
            <ac:spMk id="4" creationId="{14EA4E79-C3D7-4207-A310-659E0FB0AEDD}"/>
          </ac:spMkLst>
        </pc:spChg>
        <pc:spChg chg="add">
          <ac:chgData name="Senter, Daniel" userId="95cb641d-0e88-4633-8fc4-83037c5aa6c8" providerId="ADAL" clId="{8384AF98-EF35-4750-97E6-12EFBE471E10}" dt="2021-06-28T08:28:30.661" v="1314"/>
          <ac:spMkLst>
            <pc:docMk/>
            <pc:sldMk cId="305343245" sldId="838840202"/>
            <ac:spMk id="6" creationId="{82B103C1-9806-4DF3-A16A-65D91159417D}"/>
          </ac:spMkLst>
        </pc:spChg>
        <pc:spChg chg="add del">
          <ac:chgData name="Senter, Daniel" userId="95cb641d-0e88-4633-8fc4-83037c5aa6c8" providerId="ADAL" clId="{8384AF98-EF35-4750-97E6-12EFBE471E10}" dt="2021-06-28T08:30:42.611" v="1340" actId="478"/>
          <ac:spMkLst>
            <pc:docMk/>
            <pc:sldMk cId="305343245" sldId="838840202"/>
            <ac:spMk id="7" creationId="{6921FDD5-CD9A-4A91-92A2-A7E23B97CCC6}"/>
          </ac:spMkLst>
        </pc:spChg>
        <pc:picChg chg="add mod">
          <ac:chgData name="Senter, Daniel" userId="95cb641d-0e88-4633-8fc4-83037c5aa6c8" providerId="ADAL" clId="{8384AF98-EF35-4750-97E6-12EFBE471E10}" dt="2021-06-28T10:41:01.428" v="2707" actId="14100"/>
          <ac:picMkLst>
            <pc:docMk/>
            <pc:sldMk cId="305343245" sldId="838840202"/>
            <ac:picMk id="15362" creationId="{7D4BA874-4A36-4202-B9BB-9AE30417D434}"/>
          </ac:picMkLst>
        </pc:picChg>
      </pc:sldChg>
      <pc:sldChg chg="addSp delSp modSp add ord">
        <pc:chgData name="Senter, Daniel" userId="95cb641d-0e88-4633-8fc4-83037c5aa6c8" providerId="ADAL" clId="{8384AF98-EF35-4750-97E6-12EFBE471E10}" dt="2021-06-28T14:15:23.049" v="3870" actId="20577"/>
        <pc:sldMkLst>
          <pc:docMk/>
          <pc:sldMk cId="3198995261" sldId="838840203"/>
        </pc:sldMkLst>
        <pc:spChg chg="mod">
          <ac:chgData name="Senter, Daniel" userId="95cb641d-0e88-4633-8fc4-83037c5aa6c8" providerId="ADAL" clId="{8384AF98-EF35-4750-97E6-12EFBE471E10}" dt="2021-06-28T14:15:03.885" v="3830" actId="20577"/>
          <ac:spMkLst>
            <pc:docMk/>
            <pc:sldMk cId="3198995261" sldId="838840203"/>
            <ac:spMk id="2" creationId="{DEE005B2-3512-4AD4-BA08-567DC24E470A}"/>
          </ac:spMkLst>
        </pc:spChg>
        <pc:spChg chg="del">
          <ac:chgData name="Senter, Daniel" userId="95cb641d-0e88-4633-8fc4-83037c5aa6c8" providerId="ADAL" clId="{8384AF98-EF35-4750-97E6-12EFBE471E10}" dt="2021-06-28T10:35:42.098" v="2581" actId="478"/>
          <ac:spMkLst>
            <pc:docMk/>
            <pc:sldMk cId="3198995261" sldId="838840203"/>
            <ac:spMk id="3" creationId="{09021FC1-E694-4F0F-8933-B3423A0EDA96}"/>
          </ac:spMkLst>
        </pc:spChg>
        <pc:spChg chg="del">
          <ac:chgData name="Senter, Daniel" userId="95cb641d-0e88-4633-8fc4-83037c5aa6c8" providerId="ADAL" clId="{8384AF98-EF35-4750-97E6-12EFBE471E10}" dt="2021-06-28T10:35:44.978" v="2582" actId="478"/>
          <ac:spMkLst>
            <pc:docMk/>
            <pc:sldMk cId="3198995261" sldId="838840203"/>
            <ac:spMk id="4" creationId="{4E7BD425-9124-492D-B404-A64858ED13DA}"/>
          </ac:spMkLst>
        </pc:spChg>
        <pc:spChg chg="add mod">
          <ac:chgData name="Senter, Daniel" userId="95cb641d-0e88-4633-8fc4-83037c5aa6c8" providerId="ADAL" clId="{8384AF98-EF35-4750-97E6-12EFBE471E10}" dt="2021-06-28T14:15:23.049" v="3870" actId="20577"/>
          <ac:spMkLst>
            <pc:docMk/>
            <pc:sldMk cId="3198995261" sldId="838840203"/>
            <ac:spMk id="5" creationId="{F146CB2E-636D-41B2-816B-3CF7BA258152}"/>
          </ac:spMkLst>
        </pc:spChg>
        <pc:spChg chg="add">
          <ac:chgData name="Senter, Daniel" userId="95cb641d-0e88-4633-8fc4-83037c5aa6c8" providerId="ADAL" clId="{8384AF98-EF35-4750-97E6-12EFBE471E10}" dt="2021-06-28T08:30:49.007" v="1341"/>
          <ac:spMkLst>
            <pc:docMk/>
            <pc:sldMk cId="3198995261" sldId="838840203"/>
            <ac:spMk id="6" creationId="{3FB5D0F6-9BA4-4DA2-87EF-8370F7C3827A}"/>
          </ac:spMkLst>
        </pc:spChg>
        <pc:picChg chg="add mod">
          <ac:chgData name="Senter, Daniel" userId="95cb641d-0e88-4633-8fc4-83037c5aa6c8" providerId="ADAL" clId="{8384AF98-EF35-4750-97E6-12EFBE471E10}" dt="2021-06-28T13:48:41.181" v="3126" actId="1076"/>
          <ac:picMkLst>
            <pc:docMk/>
            <pc:sldMk cId="3198995261" sldId="838840203"/>
            <ac:picMk id="7" creationId="{F780C6EA-05B5-4DCA-90F8-A37CA5BEB15C}"/>
          </ac:picMkLst>
        </pc:picChg>
        <pc:picChg chg="add del mod">
          <ac:chgData name="Senter, Daniel" userId="95cb641d-0e88-4633-8fc4-83037c5aa6c8" providerId="ADAL" clId="{8384AF98-EF35-4750-97E6-12EFBE471E10}" dt="2021-06-28T10:44:48.645" v="2714" actId="478"/>
          <ac:picMkLst>
            <pc:docMk/>
            <pc:sldMk cId="3198995261" sldId="838840203"/>
            <ac:picMk id="16386" creationId="{830D21F1-2F54-4CA9-9CB5-2999E9ECF391}"/>
          </ac:picMkLst>
        </pc:picChg>
      </pc:sldChg>
      <pc:sldChg chg="modSp add ord">
        <pc:chgData name="Senter, Daniel" userId="95cb641d-0e88-4633-8fc4-83037c5aa6c8" providerId="ADAL" clId="{8384AF98-EF35-4750-97E6-12EFBE471E10}" dt="2021-06-28T10:09:53.086" v="2007"/>
        <pc:sldMkLst>
          <pc:docMk/>
          <pc:sldMk cId="1742480203" sldId="838840204"/>
        </pc:sldMkLst>
        <pc:spChg chg="mod">
          <ac:chgData name="Senter, Daniel" userId="95cb641d-0e88-4633-8fc4-83037c5aa6c8" providerId="ADAL" clId="{8384AF98-EF35-4750-97E6-12EFBE471E10}" dt="2021-06-28T09:05:59.360" v="1514" actId="20577"/>
          <ac:spMkLst>
            <pc:docMk/>
            <pc:sldMk cId="1742480203" sldId="838840204"/>
            <ac:spMk id="2" creationId="{D1578A06-5D7F-48CD-ADC9-0A6414280E94}"/>
          </ac:spMkLst>
        </pc:spChg>
        <pc:picChg chg="mod">
          <ac:chgData name="Senter, Daniel" userId="95cb641d-0e88-4633-8fc4-83037c5aa6c8" providerId="ADAL" clId="{8384AF98-EF35-4750-97E6-12EFBE471E10}" dt="2021-06-28T09:06:13.421" v="1517" actId="1076"/>
          <ac:picMkLst>
            <pc:docMk/>
            <pc:sldMk cId="1742480203" sldId="838840204"/>
            <ac:picMk id="3" creationId="{31FE0D5E-7950-487F-87A6-D227A710554C}"/>
          </ac:picMkLst>
        </pc:picChg>
      </pc:sldChg>
      <pc:sldChg chg="addSp delSp modSp add ord">
        <pc:chgData name="Senter, Daniel" userId="95cb641d-0e88-4633-8fc4-83037c5aa6c8" providerId="ADAL" clId="{8384AF98-EF35-4750-97E6-12EFBE471E10}" dt="2021-06-28T10:55:57.206" v="2801" actId="478"/>
        <pc:sldMkLst>
          <pc:docMk/>
          <pc:sldMk cId="4156729493" sldId="838840206"/>
        </pc:sldMkLst>
        <pc:spChg chg="mod">
          <ac:chgData name="Senter, Daniel" userId="95cb641d-0e88-4633-8fc4-83037c5aa6c8" providerId="ADAL" clId="{8384AF98-EF35-4750-97E6-12EFBE471E10}" dt="2021-06-28T10:55:48.072" v="2798"/>
          <ac:spMkLst>
            <pc:docMk/>
            <pc:sldMk cId="4156729493" sldId="838840206"/>
            <ac:spMk id="2" creationId="{AE0A6135-7126-41FB-BA65-AAE8C78AEE9C}"/>
          </ac:spMkLst>
        </pc:spChg>
        <pc:spChg chg="del">
          <ac:chgData name="Senter, Daniel" userId="95cb641d-0e88-4633-8fc4-83037c5aa6c8" providerId="ADAL" clId="{8384AF98-EF35-4750-97E6-12EFBE471E10}" dt="2021-06-28T10:55:43.261" v="2797" actId="478"/>
          <ac:spMkLst>
            <pc:docMk/>
            <pc:sldMk cId="4156729493" sldId="838840206"/>
            <ac:spMk id="3" creationId="{81FCAEFE-C4A8-4C81-892D-B05F38E897F8}"/>
          </ac:spMkLst>
        </pc:spChg>
        <pc:spChg chg="del">
          <ac:chgData name="Senter, Daniel" userId="95cb641d-0e88-4633-8fc4-83037c5aa6c8" providerId="ADAL" clId="{8384AF98-EF35-4750-97E6-12EFBE471E10}" dt="2021-06-28T10:55:57.206" v="2801" actId="478"/>
          <ac:spMkLst>
            <pc:docMk/>
            <pc:sldMk cId="4156729493" sldId="838840206"/>
            <ac:spMk id="4" creationId="{2986F888-B02A-44F5-AD9C-97C5A22140D3}"/>
          </ac:spMkLst>
        </pc:spChg>
        <pc:spChg chg="add">
          <ac:chgData name="Senter, Daniel" userId="95cb641d-0e88-4633-8fc4-83037c5aa6c8" providerId="ADAL" clId="{8384AF98-EF35-4750-97E6-12EFBE471E10}" dt="2021-06-28T10:55:52.260" v="2799"/>
          <ac:spMkLst>
            <pc:docMk/>
            <pc:sldMk cId="4156729493" sldId="838840206"/>
            <ac:spMk id="6" creationId="{2533A246-CFAC-483A-855B-C5FCBF8D5876}"/>
          </ac:spMkLst>
        </pc:spChg>
        <pc:graphicFrameChg chg="add">
          <ac:chgData name="Senter, Daniel" userId="95cb641d-0e88-4633-8fc4-83037c5aa6c8" providerId="ADAL" clId="{8384AF98-EF35-4750-97E6-12EFBE471E10}" dt="2021-06-28T10:55:41.036" v="2796"/>
          <ac:graphicFrameMkLst>
            <pc:docMk/>
            <pc:sldMk cId="4156729493" sldId="838840206"/>
            <ac:graphicFrameMk id="5" creationId="{8496A17B-3BD9-4E2C-98A0-22D24B726A9D}"/>
          </ac:graphicFrameMkLst>
        </pc:graphicFrameChg>
      </pc:sldChg>
      <pc:sldChg chg="modSp add">
        <pc:chgData name="Senter, Daniel" userId="95cb641d-0e88-4633-8fc4-83037c5aa6c8" providerId="ADAL" clId="{8384AF98-EF35-4750-97E6-12EFBE471E10}" dt="2021-06-28T14:15:13.695" v="3864" actId="20577"/>
        <pc:sldMkLst>
          <pc:docMk/>
          <pc:sldMk cId="4170364590" sldId="838840207"/>
        </pc:sldMkLst>
        <pc:spChg chg="mod">
          <ac:chgData name="Senter, Daniel" userId="95cb641d-0e88-4633-8fc4-83037c5aa6c8" providerId="ADAL" clId="{8384AF98-EF35-4750-97E6-12EFBE471E10}" dt="2021-06-28T14:15:13.695" v="3864" actId="20577"/>
          <ac:spMkLst>
            <pc:docMk/>
            <pc:sldMk cId="4170364590" sldId="838840207"/>
            <ac:spMk id="2" creationId="{268017DA-2233-4980-BE09-8D4848E86BF9}"/>
          </ac:spMkLst>
        </pc:spChg>
        <pc:spChg chg="mod">
          <ac:chgData name="Senter, Daniel" userId="95cb641d-0e88-4633-8fc4-83037c5aa6c8" providerId="ADAL" clId="{8384AF98-EF35-4750-97E6-12EFBE471E10}" dt="2021-06-28T13:42:41.254" v="3082" actId="20577"/>
          <ac:spMkLst>
            <pc:docMk/>
            <pc:sldMk cId="4170364590" sldId="838840207"/>
            <ac:spMk id="3" creationId="{BB8A5118-1B3B-459F-9BE2-A028887B071D}"/>
          </ac:spMkLst>
        </pc:spChg>
      </pc:sldChg>
      <pc:sldChg chg="addSp delSp add">
        <pc:chgData name="Senter, Daniel" userId="95cb641d-0e88-4633-8fc4-83037c5aa6c8" providerId="ADAL" clId="{8384AF98-EF35-4750-97E6-12EFBE471E10}" dt="2021-06-30T16:22:02.323" v="4680" actId="478"/>
        <pc:sldMkLst>
          <pc:docMk/>
          <pc:sldMk cId="327144497" sldId="838840208"/>
        </pc:sldMkLst>
        <pc:spChg chg="del">
          <ac:chgData name="Senter, Daniel" userId="95cb641d-0e88-4633-8fc4-83037c5aa6c8" providerId="ADAL" clId="{8384AF98-EF35-4750-97E6-12EFBE471E10}" dt="2021-06-30T16:22:02.323" v="4680" actId="478"/>
          <ac:spMkLst>
            <pc:docMk/>
            <pc:sldMk cId="327144497" sldId="838840208"/>
            <ac:spMk id="3" creationId="{DD828AC5-F8F1-4081-B5A7-343D11DE89E9}"/>
          </ac:spMkLst>
        </pc:spChg>
        <pc:spChg chg="add">
          <ac:chgData name="Senter, Daniel" userId="95cb641d-0e88-4633-8fc4-83037c5aa6c8" providerId="ADAL" clId="{8384AF98-EF35-4750-97E6-12EFBE471E10}" dt="2021-06-30T14:32:15.319" v="4461"/>
          <ac:spMkLst>
            <pc:docMk/>
            <pc:sldMk cId="327144497" sldId="838840208"/>
            <ac:spMk id="5" creationId="{F93D4CA7-EA30-4651-8D6E-5D3E7DA175C4}"/>
          </ac:spMkLst>
        </pc:spChg>
      </pc:sldChg>
      <pc:sldChg chg="del ord">
        <pc:chgData name="Senter, Daniel" userId="95cb641d-0e88-4633-8fc4-83037c5aa6c8" providerId="ADAL" clId="{8384AF98-EF35-4750-97E6-12EFBE471E10}" dt="2021-07-05T10:07:52.283" v="7775" actId="2696"/>
        <pc:sldMkLst>
          <pc:docMk/>
          <pc:sldMk cId="20776936" sldId="2147307522"/>
        </pc:sldMkLst>
      </pc:sldChg>
      <pc:sldChg chg="addSp delSp modSp add">
        <pc:chgData name="Senter, Daniel" userId="95cb641d-0e88-4633-8fc4-83037c5aa6c8" providerId="ADAL" clId="{8384AF98-EF35-4750-97E6-12EFBE471E10}" dt="2021-07-06T10:25:23.534" v="11964" actId="20577"/>
        <pc:sldMkLst>
          <pc:docMk/>
          <pc:sldMk cId="4135496317" sldId="2147307523"/>
        </pc:sldMkLst>
        <pc:spChg chg="mod">
          <ac:chgData name="Senter, Daniel" userId="95cb641d-0e88-4633-8fc4-83037c5aa6c8" providerId="ADAL" clId="{8384AF98-EF35-4750-97E6-12EFBE471E10}" dt="2021-07-02T12:09:56.504" v="5198" actId="20577"/>
          <ac:spMkLst>
            <pc:docMk/>
            <pc:sldMk cId="4135496317" sldId="2147307523"/>
            <ac:spMk id="2" creationId="{B595BFCB-E9C1-4307-B342-9F39692E355F}"/>
          </ac:spMkLst>
        </pc:spChg>
        <pc:spChg chg="add mod">
          <ac:chgData name="Senter, Daniel" userId="95cb641d-0e88-4633-8fc4-83037c5aa6c8" providerId="ADAL" clId="{8384AF98-EF35-4750-97E6-12EFBE471E10}" dt="2021-07-05T10:42:33.028" v="8453" actId="14100"/>
          <ac:spMkLst>
            <pc:docMk/>
            <pc:sldMk cId="4135496317" sldId="2147307523"/>
            <ac:spMk id="3" creationId="{7E5803AA-C9CD-4891-AD8A-91EF4AE348F8}"/>
          </ac:spMkLst>
        </pc:spChg>
        <pc:spChg chg="mod">
          <ac:chgData name="Senter, Daniel" userId="95cb641d-0e88-4633-8fc4-83037c5aa6c8" providerId="ADAL" clId="{8384AF98-EF35-4750-97E6-12EFBE471E10}" dt="2021-07-02T19:00:24.627" v="6317" actId="1076"/>
          <ac:spMkLst>
            <pc:docMk/>
            <pc:sldMk cId="4135496317" sldId="2147307523"/>
            <ac:spMk id="3" creationId="{AA026472-6407-4858-A30C-56D4CFBFD2A7}"/>
          </ac:spMkLst>
        </pc:spChg>
        <pc:spChg chg="del">
          <ac:chgData name="Senter, Daniel" userId="95cb641d-0e88-4633-8fc4-83037c5aa6c8" providerId="ADAL" clId="{8384AF98-EF35-4750-97E6-12EFBE471E10}" dt="2021-07-02T12:10:06.318" v="5199" actId="478"/>
          <ac:spMkLst>
            <pc:docMk/>
            <pc:sldMk cId="4135496317" sldId="2147307523"/>
            <ac:spMk id="3" creationId="{BE4A3E24-64C7-4368-98AE-447C9F01A899}"/>
          </ac:spMkLst>
        </pc:spChg>
        <pc:spChg chg="add">
          <ac:chgData name="Senter, Daniel" userId="95cb641d-0e88-4633-8fc4-83037c5aa6c8" providerId="ADAL" clId="{8384AF98-EF35-4750-97E6-12EFBE471E10}" dt="2021-07-02T12:04:38.142" v="4752"/>
          <ac:spMkLst>
            <pc:docMk/>
            <pc:sldMk cId="4135496317" sldId="2147307523"/>
            <ac:spMk id="5" creationId="{CB0BEF5E-D506-4870-8820-E47362931007}"/>
          </ac:spMkLst>
        </pc:spChg>
        <pc:spChg chg="add mod">
          <ac:chgData name="Senter, Daniel" userId="95cb641d-0e88-4633-8fc4-83037c5aa6c8" providerId="ADAL" clId="{8384AF98-EF35-4750-97E6-12EFBE471E10}" dt="2021-07-02T12:20:45.530" v="5468" actId="20577"/>
          <ac:spMkLst>
            <pc:docMk/>
            <pc:sldMk cId="4135496317" sldId="2147307523"/>
            <ac:spMk id="6" creationId="{A8827986-86D2-4F53-9F9A-1FE20F032AB0}"/>
          </ac:spMkLst>
        </pc:spChg>
        <pc:spChg chg="mod">
          <ac:chgData name="Senter, Daniel" userId="95cb641d-0e88-4633-8fc4-83037c5aa6c8" providerId="ADAL" clId="{8384AF98-EF35-4750-97E6-12EFBE471E10}" dt="2021-07-06T10:25:23.534" v="11964" actId="20577"/>
          <ac:spMkLst>
            <pc:docMk/>
            <pc:sldMk cId="4135496317" sldId="2147307523"/>
            <ac:spMk id="7" creationId="{B81D1DD6-C411-4C17-91D7-583D53814FC5}"/>
          </ac:spMkLst>
        </pc:spChg>
        <pc:spChg chg="add mod">
          <ac:chgData name="Senter, Daniel" userId="95cb641d-0e88-4633-8fc4-83037c5aa6c8" providerId="ADAL" clId="{8384AF98-EF35-4750-97E6-12EFBE471E10}" dt="2021-07-05T10:42:26.226" v="8451" actId="14100"/>
          <ac:spMkLst>
            <pc:docMk/>
            <pc:sldMk cId="4135496317" sldId="2147307523"/>
            <ac:spMk id="50" creationId="{887FB771-193A-4AE1-B36C-619F347E44CD}"/>
          </ac:spMkLst>
        </pc:spChg>
        <pc:spChg chg="mod">
          <ac:chgData name="Senter, Daniel" userId="95cb641d-0e88-4633-8fc4-83037c5aa6c8" providerId="ADAL" clId="{8384AF98-EF35-4750-97E6-12EFBE471E10}" dt="2021-07-05T10:52:18.976" v="9149" actId="20577"/>
          <ac:spMkLst>
            <pc:docMk/>
            <pc:sldMk cId="4135496317" sldId="2147307523"/>
            <ac:spMk id="156" creationId="{5F98C2B9-4933-4A9F-AF14-2A042DAF916C}"/>
          </ac:spMkLst>
        </pc:spChg>
        <pc:spChg chg="mod">
          <ac:chgData name="Senter, Daniel" userId="95cb641d-0e88-4633-8fc4-83037c5aa6c8" providerId="ADAL" clId="{8384AF98-EF35-4750-97E6-12EFBE471E10}" dt="2021-07-05T10:42:36.653" v="8454" actId="14100"/>
          <ac:spMkLst>
            <pc:docMk/>
            <pc:sldMk cId="4135496317" sldId="2147307523"/>
            <ac:spMk id="158" creationId="{98E1A3DB-0CF1-47BC-8AB2-ACBC788E1AAC}"/>
          </ac:spMkLst>
        </pc:spChg>
        <pc:spChg chg="mod">
          <ac:chgData name="Senter, Daniel" userId="95cb641d-0e88-4633-8fc4-83037c5aa6c8" providerId="ADAL" clId="{8384AF98-EF35-4750-97E6-12EFBE471E10}" dt="2021-07-05T10:42:21.933" v="8449" actId="14100"/>
          <ac:spMkLst>
            <pc:docMk/>
            <pc:sldMk cId="4135496317" sldId="2147307523"/>
            <ac:spMk id="159" creationId="{B14D5FA7-CD67-4AD6-B3ED-4897D7BD0C5F}"/>
          </ac:spMkLst>
        </pc:spChg>
        <pc:grpChg chg="mod">
          <ac:chgData name="Senter, Daniel" userId="95cb641d-0e88-4633-8fc4-83037c5aa6c8" providerId="ADAL" clId="{8384AF98-EF35-4750-97E6-12EFBE471E10}" dt="2021-07-05T10:42:30.758" v="8452" actId="14100"/>
          <ac:grpSpMkLst>
            <pc:docMk/>
            <pc:sldMk cId="4135496317" sldId="2147307523"/>
            <ac:grpSpMk id="178" creationId="{4EBBA0D8-7FD3-446B-B193-093340CF3635}"/>
          </ac:grpSpMkLst>
        </pc:grpChg>
        <pc:grpChg chg="mod">
          <ac:chgData name="Senter, Daniel" userId="95cb641d-0e88-4633-8fc4-83037c5aa6c8" providerId="ADAL" clId="{8384AF98-EF35-4750-97E6-12EFBE471E10}" dt="2021-07-05T10:42:36.653" v="8454" actId="14100"/>
          <ac:grpSpMkLst>
            <pc:docMk/>
            <pc:sldMk cId="4135496317" sldId="2147307523"/>
            <ac:grpSpMk id="179" creationId="{5DDFDE56-145B-49B6-8580-7C48EE1237C4}"/>
          </ac:grpSpMkLst>
        </pc:grpChg>
        <pc:picChg chg="add del mod">
          <ac:chgData name="Senter, Daniel" userId="95cb641d-0e88-4633-8fc4-83037c5aa6c8" providerId="ADAL" clId="{8384AF98-EF35-4750-97E6-12EFBE471E10}" dt="2021-07-02T12:21:22.068" v="5474"/>
          <ac:picMkLst>
            <pc:docMk/>
            <pc:sldMk cId="4135496317" sldId="2147307523"/>
            <ac:picMk id="7" creationId="{A78AFEE7-3177-4AE6-BDCA-59928487A864}"/>
          </ac:picMkLst>
        </pc:picChg>
        <pc:picChg chg="add mod">
          <ac:chgData name="Senter, Daniel" userId="95cb641d-0e88-4633-8fc4-83037c5aa6c8" providerId="ADAL" clId="{8384AF98-EF35-4750-97E6-12EFBE471E10}" dt="2021-07-05T10:42:24.139" v="8450" actId="14100"/>
          <ac:picMkLst>
            <pc:docMk/>
            <pc:sldMk cId="4135496317" sldId="2147307523"/>
            <ac:picMk id="8" creationId="{4174DDB8-0430-47E8-BC7B-BF1C06F72B49}"/>
          </ac:picMkLst>
        </pc:picChg>
        <pc:picChg chg="add del mod">
          <ac:chgData name="Senter, Daniel" userId="95cb641d-0e88-4633-8fc4-83037c5aa6c8" providerId="ADAL" clId="{8384AF98-EF35-4750-97E6-12EFBE471E10}" dt="2021-07-05T14:35:19.762" v="10269" actId="478"/>
          <ac:picMkLst>
            <pc:docMk/>
            <pc:sldMk cId="4135496317" sldId="2147307523"/>
            <ac:picMk id="10" creationId="{69A325A6-1043-43C8-9D7F-784F5EE59635}"/>
          </ac:picMkLst>
        </pc:picChg>
      </pc:sldChg>
      <pc:sldChg chg="addSp delSp modSp add">
        <pc:chgData name="Senter, Daniel" userId="95cb641d-0e88-4633-8fc4-83037c5aa6c8" providerId="ADAL" clId="{8384AF98-EF35-4750-97E6-12EFBE471E10}" dt="2021-07-05T14:35:23.382" v="10270" actId="478"/>
        <pc:sldMkLst>
          <pc:docMk/>
          <pc:sldMk cId="1208402770" sldId="2147307524"/>
        </pc:sldMkLst>
        <pc:spChg chg="mod">
          <ac:chgData name="Senter, Daniel" userId="95cb641d-0e88-4633-8fc4-83037c5aa6c8" providerId="ADAL" clId="{8384AF98-EF35-4750-97E6-12EFBE471E10}" dt="2021-07-02T12:22:16.625" v="5509" actId="20577"/>
          <ac:spMkLst>
            <pc:docMk/>
            <pc:sldMk cId="1208402770" sldId="2147307524"/>
            <ac:spMk id="2" creationId="{B595BFCB-E9C1-4307-B342-9F39692E355F}"/>
          </ac:spMkLst>
        </pc:spChg>
        <pc:spChg chg="del">
          <ac:chgData name="Senter, Daniel" userId="95cb641d-0e88-4633-8fc4-83037c5aa6c8" providerId="ADAL" clId="{8384AF98-EF35-4750-97E6-12EFBE471E10}" dt="2021-07-02T12:21:59.831" v="5483" actId="478"/>
          <ac:spMkLst>
            <pc:docMk/>
            <pc:sldMk cId="1208402770" sldId="2147307524"/>
            <ac:spMk id="3" creationId="{BE4A3E24-64C7-4368-98AE-447C9F01A899}"/>
          </ac:spMkLst>
        </pc:spChg>
        <pc:spChg chg="add mod">
          <ac:chgData name="Senter, Daniel" userId="95cb641d-0e88-4633-8fc4-83037c5aa6c8" providerId="ADAL" clId="{8384AF98-EF35-4750-97E6-12EFBE471E10}" dt="2021-07-05T09:54:36.113" v="7581" actId="6549"/>
          <ac:spMkLst>
            <pc:docMk/>
            <pc:sldMk cId="1208402770" sldId="2147307524"/>
            <ac:spMk id="6" creationId="{60CF4344-82A4-4E47-96F9-6F7705507E24}"/>
          </ac:spMkLst>
        </pc:spChg>
        <pc:spChg chg="mod">
          <ac:chgData name="Senter, Daniel" userId="95cb641d-0e88-4633-8fc4-83037c5aa6c8" providerId="ADAL" clId="{8384AF98-EF35-4750-97E6-12EFBE471E10}" dt="2021-07-05T10:44:10.778" v="8555" actId="313"/>
          <ac:spMkLst>
            <pc:docMk/>
            <pc:sldMk cId="1208402770" sldId="2147307524"/>
            <ac:spMk id="8" creationId="{651F3BC0-C5AF-42AB-B14D-820CB7F75E5E}"/>
          </ac:spMkLst>
        </pc:spChg>
        <pc:spChg chg="add mod">
          <ac:chgData name="Senter, Daniel" userId="95cb641d-0e88-4633-8fc4-83037c5aa6c8" providerId="ADAL" clId="{8384AF98-EF35-4750-97E6-12EFBE471E10}" dt="2021-07-05T10:44:23.806" v="8558" actId="20577"/>
          <ac:spMkLst>
            <pc:docMk/>
            <pc:sldMk cId="1208402770" sldId="2147307524"/>
            <ac:spMk id="11" creationId="{785910D9-8EB5-47E7-A6C4-896EE37C59E8}"/>
          </ac:spMkLst>
        </pc:spChg>
        <pc:spChg chg="del mod">
          <ac:chgData name="Senter, Daniel" userId="95cb641d-0e88-4633-8fc4-83037c5aa6c8" providerId="ADAL" clId="{8384AF98-EF35-4750-97E6-12EFBE471E10}" dt="2021-07-05T10:04:34.878" v="7612"/>
          <ac:spMkLst>
            <pc:docMk/>
            <pc:sldMk cId="1208402770" sldId="2147307524"/>
            <ac:spMk id="12" creationId="{DFB0C052-8E87-471F-B429-E6F232ACA2DE}"/>
          </ac:spMkLst>
        </pc:spChg>
        <pc:picChg chg="mod">
          <ac:chgData name="Senter, Daniel" userId="95cb641d-0e88-4633-8fc4-83037c5aa6c8" providerId="ADAL" clId="{8384AF98-EF35-4750-97E6-12EFBE471E10}" dt="2021-07-05T10:04:51.460" v="7616" actId="1076"/>
          <ac:picMkLst>
            <pc:docMk/>
            <pc:sldMk cId="1208402770" sldId="2147307524"/>
            <ac:picMk id="7" creationId="{5A698004-932B-43D4-8E0D-8EBDA60D1E96}"/>
          </ac:picMkLst>
        </pc:picChg>
        <pc:picChg chg="del">
          <ac:chgData name="Senter, Daniel" userId="95cb641d-0e88-4633-8fc4-83037c5aa6c8" providerId="ADAL" clId="{8384AF98-EF35-4750-97E6-12EFBE471E10}" dt="2021-07-05T10:04:34.878" v="7612"/>
          <ac:picMkLst>
            <pc:docMk/>
            <pc:sldMk cId="1208402770" sldId="2147307524"/>
            <ac:picMk id="9" creationId="{72BD1E73-7196-4515-92B4-422FB95CF660}"/>
          </ac:picMkLst>
        </pc:picChg>
        <pc:picChg chg="add mod">
          <ac:chgData name="Senter, Daniel" userId="95cb641d-0e88-4633-8fc4-83037c5aa6c8" providerId="ADAL" clId="{8384AF98-EF35-4750-97E6-12EFBE471E10}" dt="2021-07-05T10:04:56.230" v="7617" actId="1076"/>
          <ac:picMkLst>
            <pc:docMk/>
            <pc:sldMk cId="1208402770" sldId="2147307524"/>
            <ac:picMk id="10" creationId="{D57C3C58-E9E7-41F3-B0FB-EFE1136F10D1}"/>
          </ac:picMkLst>
        </pc:picChg>
        <pc:picChg chg="add del mod">
          <ac:chgData name="Senter, Daniel" userId="95cb641d-0e88-4633-8fc4-83037c5aa6c8" providerId="ADAL" clId="{8384AF98-EF35-4750-97E6-12EFBE471E10}" dt="2021-07-05T14:35:23.382" v="10270" actId="478"/>
          <ac:picMkLst>
            <pc:docMk/>
            <pc:sldMk cId="1208402770" sldId="2147307524"/>
            <ac:picMk id="14" creationId="{5AE67E4A-8E57-41A7-9043-C3AC5DB6C0E5}"/>
          </ac:picMkLst>
        </pc:picChg>
      </pc:sldChg>
      <pc:sldChg chg="addSp delSp modSp add ord">
        <pc:chgData name="Senter, Daniel" userId="95cb641d-0e88-4633-8fc4-83037c5aa6c8" providerId="ADAL" clId="{8384AF98-EF35-4750-97E6-12EFBE471E10}" dt="2021-07-06T10:37:11.085" v="12072" actId="20577"/>
        <pc:sldMkLst>
          <pc:docMk/>
          <pc:sldMk cId="824225204" sldId="2147307525"/>
        </pc:sldMkLst>
        <pc:spChg chg="mod">
          <ac:chgData name="Senter, Daniel" userId="95cb641d-0e88-4633-8fc4-83037c5aa6c8" providerId="ADAL" clId="{8384AF98-EF35-4750-97E6-12EFBE471E10}" dt="2021-07-05T10:09:00.549" v="7900" actId="20577"/>
          <ac:spMkLst>
            <pc:docMk/>
            <pc:sldMk cId="824225204" sldId="2147307525"/>
            <ac:spMk id="2" creationId="{B595BFCB-E9C1-4307-B342-9F39692E355F}"/>
          </ac:spMkLst>
        </pc:spChg>
        <pc:spChg chg="del">
          <ac:chgData name="Senter, Daniel" userId="95cb641d-0e88-4633-8fc4-83037c5aa6c8" providerId="ADAL" clId="{8384AF98-EF35-4750-97E6-12EFBE471E10}" dt="2021-07-02T12:22:08.473" v="5486" actId="478"/>
          <ac:spMkLst>
            <pc:docMk/>
            <pc:sldMk cId="824225204" sldId="2147307525"/>
            <ac:spMk id="3" creationId="{BE4A3E24-64C7-4368-98AE-447C9F01A899}"/>
          </ac:spMkLst>
        </pc:spChg>
        <pc:spChg chg="del">
          <ac:chgData name="Senter, Daniel" userId="95cb641d-0e88-4633-8fc4-83037c5aa6c8" providerId="ADAL" clId="{8384AF98-EF35-4750-97E6-12EFBE471E10}" dt="2021-07-05T09:36:41.730" v="7290" actId="478"/>
          <ac:spMkLst>
            <pc:docMk/>
            <pc:sldMk cId="824225204" sldId="2147307525"/>
            <ac:spMk id="4" creationId="{03122E7F-207C-4275-A57F-5C006B6E9A74}"/>
          </ac:spMkLst>
        </pc:spChg>
        <pc:spChg chg="add mod">
          <ac:chgData name="Senter, Daniel" userId="95cb641d-0e88-4633-8fc4-83037c5aa6c8" providerId="ADAL" clId="{8384AF98-EF35-4750-97E6-12EFBE471E10}" dt="2021-07-05T10:11:30.442" v="8113" actId="20577"/>
          <ac:spMkLst>
            <pc:docMk/>
            <pc:sldMk cId="824225204" sldId="2147307525"/>
            <ac:spMk id="6" creationId="{70A4C3C7-15E2-49A9-A949-FCFA7DF47E99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8" creationId="{59F3DAB7-A41F-48E0-A998-74F918A78395}"/>
          </ac:spMkLst>
        </pc:spChg>
        <pc:spChg chg="add del mod">
          <ac:chgData name="Senter, Daniel" userId="95cb641d-0e88-4633-8fc4-83037c5aa6c8" providerId="ADAL" clId="{8384AF98-EF35-4750-97E6-12EFBE471E10}" dt="2021-07-02T13:15:53.385" v="6052" actId="478"/>
          <ac:spMkLst>
            <pc:docMk/>
            <pc:sldMk cId="824225204" sldId="2147307525"/>
            <ac:spMk id="8" creationId="{BD497EBD-5320-4609-85B7-E5E87B523CBE}"/>
          </ac:spMkLst>
        </pc:spChg>
        <pc:spChg chg="add del mod">
          <ac:chgData name="Senter, Daniel" userId="95cb641d-0e88-4633-8fc4-83037c5aa6c8" providerId="ADAL" clId="{8384AF98-EF35-4750-97E6-12EFBE471E10}" dt="2021-07-02T13:15:53.385" v="6052" actId="478"/>
          <ac:spMkLst>
            <pc:docMk/>
            <pc:sldMk cId="824225204" sldId="2147307525"/>
            <ac:spMk id="9" creationId="{443B5893-2153-4DD6-9289-84DEB7A62D5A}"/>
          </ac:spMkLst>
        </pc:spChg>
        <pc:spChg chg="add del mod">
          <ac:chgData name="Senter, Daniel" userId="95cb641d-0e88-4633-8fc4-83037c5aa6c8" providerId="ADAL" clId="{8384AF98-EF35-4750-97E6-12EFBE471E10}" dt="2021-07-02T13:15:53.385" v="6052" actId="478"/>
          <ac:spMkLst>
            <pc:docMk/>
            <pc:sldMk cId="824225204" sldId="2147307525"/>
            <ac:spMk id="10" creationId="{8E6330F1-3570-48AE-8151-A254801B28A3}"/>
          </ac:spMkLst>
        </pc:spChg>
        <pc:spChg chg="add del mod">
          <ac:chgData name="Senter, Daniel" userId="95cb641d-0e88-4633-8fc4-83037c5aa6c8" providerId="ADAL" clId="{8384AF98-EF35-4750-97E6-12EFBE471E10}" dt="2021-07-02T13:15:53.385" v="6052" actId="478"/>
          <ac:spMkLst>
            <pc:docMk/>
            <pc:sldMk cId="824225204" sldId="2147307525"/>
            <ac:spMk id="11" creationId="{AF014A48-08A9-4081-8FC3-D565B2ECEB05}"/>
          </ac:spMkLst>
        </pc:spChg>
        <pc:spChg chg="add mod">
          <ac:chgData name="Senter, Daniel" userId="95cb641d-0e88-4633-8fc4-83037c5aa6c8" providerId="ADAL" clId="{8384AF98-EF35-4750-97E6-12EFBE471E10}" dt="2021-07-05T14:35:31.996" v="10276" actId="1035"/>
          <ac:spMkLst>
            <pc:docMk/>
            <pc:sldMk cId="824225204" sldId="2147307525"/>
            <ac:spMk id="12" creationId="{6C680E7F-3871-4AEB-9C11-7CDF8FFE0191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3" creationId="{BB632C73-75FF-438E-B17A-B3A9F80E8134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4" creationId="{51C912B5-716B-4DF8-AD63-337537608BBC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4" creationId="{800C144B-4AE5-407C-B268-D6302F9BC5B6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5" creationId="{6E6DE10A-43A2-4B60-8DC2-B6BBB39F7632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5" creationId="{985E7416-3D3E-4C28-85E6-58B19044AB12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6" creationId="{5421C244-2AF0-458C-9576-126AEA2F83D6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6" creationId="{AE832F63-F7B9-46B9-A14E-2446D259DA3D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7" creationId="{1AB6D34C-CC89-46D0-BCAD-63510602353E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7" creationId="{87FD6E6B-639C-40AD-99C4-2D0CD63DD754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8" creationId="{2F64D9A6-B70A-49A5-A65C-3489373A4DAE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8" creationId="{481F16D0-A35B-4BC5-A82D-73120547A799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19" creationId="{2C710B28-DAA6-4172-A7AE-265E5CAFEEA4}"/>
          </ac:spMkLst>
        </pc:spChg>
        <pc:spChg chg="add del mod">
          <ac:chgData name="Senter, Daniel" userId="95cb641d-0e88-4633-8fc4-83037c5aa6c8" providerId="ADAL" clId="{8384AF98-EF35-4750-97E6-12EFBE471E10}" dt="2021-07-02T13:32:02.989" v="6162" actId="478"/>
          <ac:spMkLst>
            <pc:docMk/>
            <pc:sldMk cId="824225204" sldId="2147307525"/>
            <ac:spMk id="19" creationId="{48A01DAB-8690-442D-9B5E-A6395680009F}"/>
          </ac:spMkLst>
        </pc:spChg>
        <pc:spChg chg="add del">
          <ac:chgData name="Senter, Daniel" userId="95cb641d-0e88-4633-8fc4-83037c5aa6c8" providerId="ADAL" clId="{8384AF98-EF35-4750-97E6-12EFBE471E10}" dt="2021-07-02T13:31:54.131" v="6158"/>
          <ac:spMkLst>
            <pc:docMk/>
            <pc:sldMk cId="824225204" sldId="2147307525"/>
            <ac:spMk id="20" creationId="{0DB2C23A-87D0-4869-BF17-B03483451DBD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20" creationId="{B037E393-87A5-4FE6-81EA-328FA343EBA9}"/>
          </ac:spMkLst>
        </pc:spChg>
        <pc:spChg chg="add del mod">
          <ac:chgData name="Senter, Daniel" userId="95cb641d-0e88-4633-8fc4-83037c5aa6c8" providerId="ADAL" clId="{8384AF98-EF35-4750-97E6-12EFBE471E10}" dt="2021-07-05T11:38:06.557" v="9181" actId="478"/>
          <ac:spMkLst>
            <pc:docMk/>
            <pc:sldMk cId="824225204" sldId="2147307525"/>
            <ac:spMk id="21" creationId="{358297FC-E3C5-45C6-9563-AEBECC8A37F4}"/>
          </ac:spMkLst>
        </pc:spChg>
        <pc:spChg chg="add mod">
          <ac:chgData name="Senter, Daniel" userId="95cb641d-0e88-4633-8fc4-83037c5aa6c8" providerId="ADAL" clId="{8384AF98-EF35-4750-97E6-12EFBE471E10}" dt="2021-07-06T10:37:11.085" v="12072" actId="20577"/>
          <ac:spMkLst>
            <pc:docMk/>
            <pc:sldMk cId="824225204" sldId="2147307525"/>
            <ac:spMk id="22" creationId="{7C1BFD13-3F10-462C-A20D-CA3296F773D6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24" creationId="{400F260A-0394-46C9-BF1D-F5F275E69A04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26" creationId="{41436033-CE7F-4EC4-933B-0E9DDA6C339C}"/>
          </ac:spMkLst>
        </pc:spChg>
        <pc:spChg chg="add 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27" creationId="{55E9FB5D-1825-4EC1-B73A-427A3F411FC2}"/>
          </ac:spMkLst>
        </pc:spChg>
        <pc:spChg chg="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29" creationId="{B9990D26-67DC-4C56-B02C-BD9E5947E7AB}"/>
          </ac:spMkLst>
        </pc:spChg>
        <pc:spChg chg="mod">
          <ac:chgData name="Senter, Daniel" userId="95cb641d-0e88-4633-8fc4-83037c5aa6c8" providerId="ADAL" clId="{8384AF98-EF35-4750-97E6-12EFBE471E10}" dt="2021-07-05T12:23:39.930" v="9422" actId="20577"/>
          <ac:spMkLst>
            <pc:docMk/>
            <pc:sldMk cId="824225204" sldId="2147307525"/>
            <ac:spMk id="30" creationId="{88E9E28E-7FF9-43E2-ABAE-94E1D2BDD5FC}"/>
          </ac:spMkLst>
        </pc:spChg>
        <pc:spChg chg="mod">
          <ac:chgData name="Senter, Daniel" userId="95cb641d-0e88-4633-8fc4-83037c5aa6c8" providerId="ADAL" clId="{8384AF98-EF35-4750-97E6-12EFBE471E10}" dt="2021-07-05T12:24:38.375" v="9443" actId="313"/>
          <ac:spMkLst>
            <pc:docMk/>
            <pc:sldMk cId="824225204" sldId="2147307525"/>
            <ac:spMk id="31" creationId="{292BDCAC-BCB4-4181-BB3C-81F5A0860665}"/>
          </ac:spMkLst>
        </pc:spChg>
        <pc:spChg chg="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32" creationId="{C9907FC0-4738-4166-BA2A-CC46C90674A8}"/>
          </ac:spMkLst>
        </pc:spChg>
        <pc:spChg chg="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33" creationId="{027DFE3B-4D48-4FF0-BA4B-7559ABD1F359}"/>
          </ac:spMkLst>
        </pc:spChg>
        <pc:spChg chg="mod">
          <ac:chgData name="Senter, Daniel" userId="95cb641d-0e88-4633-8fc4-83037c5aa6c8" providerId="ADAL" clId="{8384AF98-EF35-4750-97E6-12EFBE471E10}" dt="2021-07-05T09:08:35.868" v="6864" actId="255"/>
          <ac:spMkLst>
            <pc:docMk/>
            <pc:sldMk cId="824225204" sldId="2147307525"/>
            <ac:spMk id="34" creationId="{1F89BF03-57AD-448F-BA8E-C02C341DF1F5}"/>
          </ac:spMkLst>
        </pc:spChg>
        <pc:spChg chg="mod">
          <ac:chgData name="Senter, Daniel" userId="95cb641d-0e88-4633-8fc4-83037c5aa6c8" providerId="ADAL" clId="{8384AF98-EF35-4750-97E6-12EFBE471E10}" dt="2021-07-05T12:24:02.749" v="9432"/>
          <ac:spMkLst>
            <pc:docMk/>
            <pc:sldMk cId="824225204" sldId="2147307525"/>
            <ac:spMk id="35" creationId="{B617FEB9-A864-4D82-BB2C-058184C945BB}"/>
          </ac:spMkLst>
        </pc:spChg>
        <pc:spChg chg="mod">
          <ac:chgData name="Senter, Daniel" userId="95cb641d-0e88-4633-8fc4-83037c5aa6c8" providerId="ADAL" clId="{8384AF98-EF35-4750-97E6-12EFBE471E10}" dt="2021-07-05T12:24:06.925" v="9434"/>
          <ac:spMkLst>
            <pc:docMk/>
            <pc:sldMk cId="824225204" sldId="2147307525"/>
            <ac:spMk id="36" creationId="{23A70C9C-7B18-4FA0-BCCF-4DFDD2F694EA}"/>
          </ac:spMkLst>
        </pc:spChg>
        <pc:spChg chg="del mod">
          <ac:chgData name="Senter, Daniel" userId="95cb641d-0e88-4633-8fc4-83037c5aa6c8" providerId="ADAL" clId="{8384AF98-EF35-4750-97E6-12EFBE471E10}" dt="2021-07-05T09:03:27.322" v="6747" actId="478"/>
          <ac:spMkLst>
            <pc:docMk/>
            <pc:sldMk cId="824225204" sldId="2147307525"/>
            <ac:spMk id="37" creationId="{D3D063EA-1B8C-49D3-B2B1-147359211FE0}"/>
          </ac:spMkLst>
        </pc:spChg>
        <pc:spChg chg="del mod">
          <ac:chgData name="Senter, Daniel" userId="95cb641d-0e88-4633-8fc4-83037c5aa6c8" providerId="ADAL" clId="{8384AF98-EF35-4750-97E6-12EFBE471E10}" dt="2021-07-05T09:03:27.322" v="6747" actId="478"/>
          <ac:spMkLst>
            <pc:docMk/>
            <pc:sldMk cId="824225204" sldId="2147307525"/>
            <ac:spMk id="38" creationId="{3F104919-E39F-4C79-A7FE-6F7291B1FDAD}"/>
          </ac:spMkLst>
        </pc:spChg>
        <pc:spChg chg="del mod">
          <ac:chgData name="Senter, Daniel" userId="95cb641d-0e88-4633-8fc4-83037c5aa6c8" providerId="ADAL" clId="{8384AF98-EF35-4750-97E6-12EFBE471E10}" dt="2021-07-05T09:03:27.322" v="6747" actId="478"/>
          <ac:spMkLst>
            <pc:docMk/>
            <pc:sldMk cId="824225204" sldId="2147307525"/>
            <ac:spMk id="39" creationId="{EDDFAFEC-6FDF-417A-A888-6552AB64A4F1}"/>
          </ac:spMkLst>
        </pc:spChg>
        <pc:spChg chg="add mod">
          <ac:chgData name="Senter, Daniel" userId="95cb641d-0e88-4633-8fc4-83037c5aa6c8" providerId="ADAL" clId="{8384AF98-EF35-4750-97E6-12EFBE471E10}" dt="2021-07-05T10:51:31.219" v="9130" actId="403"/>
          <ac:spMkLst>
            <pc:docMk/>
            <pc:sldMk cId="824225204" sldId="2147307525"/>
            <ac:spMk id="64" creationId="{F74838DF-EF0E-45FE-BA65-251B804B309C}"/>
          </ac:spMkLst>
        </pc:spChg>
        <pc:spChg chg="add mod">
          <ac:chgData name="Senter, Daniel" userId="95cb641d-0e88-4633-8fc4-83037c5aa6c8" providerId="ADAL" clId="{8384AF98-EF35-4750-97E6-12EFBE471E10}" dt="2021-07-05T10:51:31.219" v="9130" actId="403"/>
          <ac:spMkLst>
            <pc:docMk/>
            <pc:sldMk cId="824225204" sldId="2147307525"/>
            <ac:spMk id="65" creationId="{E8F26A96-8340-40B2-AA4C-806D65C46EBB}"/>
          </ac:spMkLst>
        </pc:spChg>
        <pc:spChg chg="add del mod">
          <ac:chgData name="Senter, Daniel" userId="95cb641d-0e88-4633-8fc4-83037c5aa6c8" providerId="ADAL" clId="{8384AF98-EF35-4750-97E6-12EFBE471E10}" dt="2021-07-05T10:19:12.122" v="8387"/>
          <ac:spMkLst>
            <pc:docMk/>
            <pc:sldMk cId="824225204" sldId="2147307525"/>
            <ac:spMk id="67" creationId="{74385E26-0650-47A0-B780-E89991A29D05}"/>
          </ac:spMkLst>
        </pc:spChg>
        <pc:spChg chg="add del mod">
          <ac:chgData name="Senter, Daniel" userId="95cb641d-0e88-4633-8fc4-83037c5aa6c8" providerId="ADAL" clId="{8384AF98-EF35-4750-97E6-12EFBE471E10}" dt="2021-07-05T11:42:15.259" v="9268" actId="478"/>
          <ac:spMkLst>
            <pc:docMk/>
            <pc:sldMk cId="824225204" sldId="2147307525"/>
            <ac:spMk id="68" creationId="{95DB52D7-57FA-49AD-8823-AA67589E3FEA}"/>
          </ac:spMkLst>
        </pc:spChg>
        <pc:spChg chg="add mod">
          <ac:chgData name="Senter, Daniel" userId="95cb641d-0e88-4633-8fc4-83037c5aa6c8" providerId="ADAL" clId="{8384AF98-EF35-4750-97E6-12EFBE471E10}" dt="2021-07-05T14:00:23.459" v="9576" actId="20577"/>
          <ac:spMkLst>
            <pc:docMk/>
            <pc:sldMk cId="824225204" sldId="2147307525"/>
            <ac:spMk id="69" creationId="{67003CE7-FABF-4AAF-8B57-33EE6EFBAFCB}"/>
          </ac:spMkLst>
        </pc:spChg>
        <pc:spChg chg="add del">
          <ac:chgData name="Senter, Daniel" userId="95cb641d-0e88-4633-8fc4-83037c5aa6c8" providerId="ADAL" clId="{8384AF98-EF35-4750-97E6-12EFBE471E10}" dt="2021-07-05T11:40:23.720" v="9198"/>
          <ac:spMkLst>
            <pc:docMk/>
            <pc:sldMk cId="824225204" sldId="2147307525"/>
            <ac:spMk id="70" creationId="{067071EF-F021-4EA0-B9DD-2E192124263F}"/>
          </ac:spMkLst>
        </pc:spChg>
        <pc:spChg chg="add mod">
          <ac:chgData name="Senter, Daniel" userId="95cb641d-0e88-4633-8fc4-83037c5aa6c8" providerId="ADAL" clId="{8384AF98-EF35-4750-97E6-12EFBE471E10}" dt="2021-07-05T14:40:28.004" v="10281" actId="1076"/>
          <ac:spMkLst>
            <pc:docMk/>
            <pc:sldMk cId="824225204" sldId="2147307525"/>
            <ac:spMk id="71" creationId="{AD6B1864-2903-4F0A-9F80-17EADEEA12C1}"/>
          </ac:spMkLst>
        </pc:spChg>
        <pc:spChg chg="add mod">
          <ac:chgData name="Senter, Daniel" userId="95cb641d-0e88-4633-8fc4-83037c5aa6c8" providerId="ADAL" clId="{8384AF98-EF35-4750-97E6-12EFBE471E10}" dt="2021-07-05T13:42:16.544" v="9549" actId="20577"/>
          <ac:spMkLst>
            <pc:docMk/>
            <pc:sldMk cId="824225204" sldId="2147307525"/>
            <ac:spMk id="76" creationId="{869AFC87-F223-4BAE-BECA-35C7227ED1C1}"/>
          </ac:spMkLst>
        </pc:spChg>
        <pc:spChg chg="add del mod">
          <ac:chgData name="Senter, Daniel" userId="95cb641d-0e88-4633-8fc4-83037c5aa6c8" providerId="ADAL" clId="{8384AF98-EF35-4750-97E6-12EFBE471E10}" dt="2021-07-05T13:07:26.885" v="9469" actId="478"/>
          <ac:spMkLst>
            <pc:docMk/>
            <pc:sldMk cId="824225204" sldId="2147307525"/>
            <ac:spMk id="78" creationId="{8136C1F2-F656-4DB8-BAFE-E144FD0C12A0}"/>
          </ac:spMkLst>
        </pc:spChg>
        <pc:spChg chg="add mod">
          <ac:chgData name="Senter, Daniel" userId="95cb641d-0e88-4633-8fc4-83037c5aa6c8" providerId="ADAL" clId="{8384AF98-EF35-4750-97E6-12EFBE471E10}" dt="2021-07-05T14:24:51.501" v="9997" actId="1035"/>
          <ac:spMkLst>
            <pc:docMk/>
            <pc:sldMk cId="824225204" sldId="2147307525"/>
            <ac:spMk id="79" creationId="{66175EAB-C987-4D4C-B5EE-0264117D6540}"/>
          </ac:spMkLst>
        </pc:spChg>
        <pc:grpChg chg="add mod">
          <ac:chgData name="Senter, Daniel" userId="95cb641d-0e88-4633-8fc4-83037c5aa6c8" providerId="ADAL" clId="{8384AF98-EF35-4750-97E6-12EFBE471E10}" dt="2021-07-05T09:32:12.675" v="7287" actId="554"/>
          <ac:grpSpMkLst>
            <pc:docMk/>
            <pc:sldMk cId="824225204" sldId="2147307525"/>
            <ac:grpSpMk id="9" creationId="{19F80AB9-0B70-4D94-B1F3-13153AE1D4DD}"/>
          </ac:grpSpMkLst>
        </pc:grpChg>
        <pc:grpChg chg="add mod">
          <ac:chgData name="Senter, Daniel" userId="95cb641d-0e88-4633-8fc4-83037c5aa6c8" providerId="ADAL" clId="{8384AF98-EF35-4750-97E6-12EFBE471E10}" dt="2021-07-05T09:08:06.410" v="6857" actId="164"/>
          <ac:grpSpMkLst>
            <pc:docMk/>
            <pc:sldMk cId="824225204" sldId="2147307525"/>
            <ac:grpSpMk id="28" creationId="{ACD37FEA-E285-40EB-B898-A4F0E6BA5D01}"/>
          </ac:grpSpMkLst>
        </pc:grpChg>
        <pc:grpChg chg="add mod">
          <ac:chgData name="Senter, Daniel" userId="95cb641d-0e88-4633-8fc4-83037c5aa6c8" providerId="ADAL" clId="{8384AF98-EF35-4750-97E6-12EFBE471E10}" dt="2021-07-05T09:36:55.210" v="7291" actId="164"/>
          <ac:grpSpMkLst>
            <pc:docMk/>
            <pc:sldMk cId="824225204" sldId="2147307525"/>
            <ac:grpSpMk id="62" creationId="{0568A75B-DECF-424D-A016-920B1938CF4B}"/>
          </ac:grpSpMkLst>
        </pc:grpChg>
        <pc:grpChg chg="add mod">
          <ac:chgData name="Senter, Daniel" userId="95cb641d-0e88-4633-8fc4-83037c5aa6c8" providerId="ADAL" clId="{8384AF98-EF35-4750-97E6-12EFBE471E10}" dt="2021-07-05T14:40:51.014" v="10288" actId="14100"/>
          <ac:grpSpMkLst>
            <pc:docMk/>
            <pc:sldMk cId="824225204" sldId="2147307525"/>
            <ac:grpSpMk id="63" creationId="{EEB51ACC-AE12-4F7E-90B9-629C04D9E3E1}"/>
          </ac:grpSpMkLst>
        </pc:grpChg>
        <pc:grpChg chg="add mod ord">
          <ac:chgData name="Senter, Daniel" userId="95cb641d-0e88-4633-8fc4-83037c5aa6c8" providerId="ADAL" clId="{8384AF98-EF35-4750-97E6-12EFBE471E10}" dt="2021-07-05T14:40:51.014" v="10288" actId="14100"/>
          <ac:grpSpMkLst>
            <pc:docMk/>
            <pc:sldMk cId="824225204" sldId="2147307525"/>
            <ac:grpSpMk id="66" creationId="{6483B2BE-A390-418C-8754-B4842D450C9B}"/>
          </ac:grpSpMkLst>
        </pc:grpChg>
        <pc:grpChg chg="add mod">
          <ac:chgData name="Senter, Daniel" userId="95cb641d-0e88-4633-8fc4-83037c5aa6c8" providerId="ADAL" clId="{8384AF98-EF35-4750-97E6-12EFBE471E10}" dt="2021-07-05T14:40:51.014" v="10288" actId="14100"/>
          <ac:grpSpMkLst>
            <pc:docMk/>
            <pc:sldMk cId="824225204" sldId="2147307525"/>
            <ac:grpSpMk id="75" creationId="{5DCDA5AF-42BF-4096-B20F-2BD82E82F912}"/>
          </ac:grpSpMkLst>
        </pc:grpChg>
        <pc:graphicFrameChg chg="add del mod modGraphic">
          <ac:chgData name="Senter, Daniel" userId="95cb641d-0e88-4633-8fc4-83037c5aa6c8" providerId="ADAL" clId="{8384AF98-EF35-4750-97E6-12EFBE471E10}" dt="2021-07-05T09:03:31.773" v="6748" actId="478"/>
          <ac:graphicFrameMkLst>
            <pc:docMk/>
            <pc:sldMk cId="824225204" sldId="2147307525"/>
            <ac:graphicFrameMk id="10" creationId="{FECF8296-6A15-42BF-9CBB-2F4196170E27}"/>
          </ac:graphicFrameMkLst>
        </pc:graphicFrameChg>
        <pc:graphicFrameChg chg="add del mod">
          <ac:chgData name="Senter, Daniel" userId="95cb641d-0e88-4633-8fc4-83037c5aa6c8" providerId="ADAL" clId="{8384AF98-EF35-4750-97E6-12EFBE471E10}" dt="2021-07-05T12:01:42.752" v="9340" actId="478"/>
          <ac:graphicFrameMkLst>
            <pc:docMk/>
            <pc:sldMk cId="824225204" sldId="2147307525"/>
            <ac:graphicFrameMk id="77" creationId="{71668D66-851F-4DA7-937B-B69AF856EBE8}"/>
          </ac:graphicFrameMkLst>
        </pc:graphicFrameChg>
        <pc:graphicFrameChg chg="add del mod">
          <ac:chgData name="Senter, Daniel" userId="95cb641d-0e88-4633-8fc4-83037c5aa6c8" providerId="ADAL" clId="{8384AF98-EF35-4750-97E6-12EFBE471E10}" dt="2021-07-05T13:28:55.905" v="9540" actId="478"/>
          <ac:graphicFrameMkLst>
            <pc:docMk/>
            <pc:sldMk cId="824225204" sldId="2147307525"/>
            <ac:graphicFrameMk id="82" creationId="{657AD1B7-4F04-494A-B282-D71DEF18A9EA}"/>
          </ac:graphicFrameMkLst>
        </pc:graphicFrameChg>
        <pc:graphicFrameChg chg="add del">
          <ac:chgData name="Senter, Daniel" userId="95cb641d-0e88-4633-8fc4-83037c5aa6c8" providerId="ADAL" clId="{8384AF98-EF35-4750-97E6-12EFBE471E10}" dt="2021-07-05T14:00:31.110" v="9577" actId="478"/>
          <ac:graphicFrameMkLst>
            <pc:docMk/>
            <pc:sldMk cId="824225204" sldId="2147307525"/>
            <ac:graphicFrameMk id="83" creationId="{2472E7DD-FC82-48CC-A1FF-7A4911B5FC18}"/>
          </ac:graphicFrameMkLst>
        </pc:graphicFrameChg>
        <pc:picChg chg="add del mod modCrop">
          <ac:chgData name="Senter, Daniel" userId="95cb641d-0e88-4633-8fc4-83037c5aa6c8" providerId="ADAL" clId="{8384AF98-EF35-4750-97E6-12EFBE471E10}" dt="2021-07-05T08:58:00.842" v="6627" actId="478"/>
          <ac:picMkLst>
            <pc:docMk/>
            <pc:sldMk cId="824225204" sldId="2147307525"/>
            <ac:picMk id="3" creationId="{8AFC2D12-F278-4179-9889-278D5C085436}"/>
          </ac:picMkLst>
        </pc:picChg>
        <pc:picChg chg="add del mod">
          <ac:chgData name="Senter, Daniel" userId="95cb641d-0e88-4633-8fc4-83037c5aa6c8" providerId="ADAL" clId="{8384AF98-EF35-4750-97E6-12EFBE471E10}" dt="2021-07-02T12:51:53.298" v="5742" actId="478"/>
          <ac:picMkLst>
            <pc:docMk/>
            <pc:sldMk cId="824225204" sldId="2147307525"/>
            <ac:picMk id="7" creationId="{F6CDD382-3450-43CF-968D-C4C546EE48F8}"/>
          </ac:picMkLst>
        </pc:picChg>
        <pc:picChg chg="add del mod">
          <ac:chgData name="Senter, Daniel" userId="95cb641d-0e88-4633-8fc4-83037c5aa6c8" providerId="ADAL" clId="{8384AF98-EF35-4750-97E6-12EFBE471E10}" dt="2021-07-05T09:01:13.398" v="6742" actId="478"/>
          <ac:picMkLst>
            <pc:docMk/>
            <pc:sldMk cId="824225204" sldId="2147307525"/>
            <ac:picMk id="7" creationId="{FE2B9DAB-74EA-4D45-B1E0-D49093231106}"/>
          </ac:picMkLst>
        </pc:picChg>
        <pc:picChg chg="add del mod modCrop">
          <ac:chgData name="Senter, Daniel" userId="95cb641d-0e88-4633-8fc4-83037c5aa6c8" providerId="ADAL" clId="{8384AF98-EF35-4750-97E6-12EFBE471E10}" dt="2021-07-05T08:50:53.730" v="6359" actId="478"/>
          <ac:picMkLst>
            <pc:docMk/>
            <pc:sldMk cId="824225204" sldId="2147307525"/>
            <ac:picMk id="23" creationId="{3C741645-0DD8-4889-8C6C-809F8625562F}"/>
          </ac:picMkLst>
        </pc:picChg>
        <pc:picChg chg="add del mod">
          <ac:chgData name="Senter, Daniel" userId="95cb641d-0e88-4633-8fc4-83037c5aa6c8" providerId="ADAL" clId="{8384AF98-EF35-4750-97E6-12EFBE471E10}" dt="2021-07-05T08:52:37.385" v="6372" actId="478"/>
          <ac:picMkLst>
            <pc:docMk/>
            <pc:sldMk cId="824225204" sldId="2147307525"/>
            <ac:picMk id="25" creationId="{EDA54ADD-94CF-41F8-A889-F399B5B20D20}"/>
          </ac:picMkLst>
        </pc:picChg>
        <pc:picChg chg="add del mod">
          <ac:chgData name="Senter, Daniel" userId="95cb641d-0e88-4633-8fc4-83037c5aa6c8" providerId="ADAL" clId="{8384AF98-EF35-4750-97E6-12EFBE471E10}" dt="2021-07-02T13:11:55.422" v="6029" actId="478"/>
          <ac:picMkLst>
            <pc:docMk/>
            <pc:sldMk cId="824225204" sldId="2147307525"/>
            <ac:picMk id="16386" creationId="{F27F6E0B-A0DD-4128-8E78-868E55D70720}"/>
          </ac:picMkLst>
        </pc:pic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13" creationId="{568ADC72-C547-4A8C-BFDE-69744612AC6B}"/>
          </ac:cxnSpMkLst>
        </pc:cxnChg>
        <pc:cxnChg chg="add mod">
          <ac:chgData name="Senter, Daniel" userId="95cb641d-0e88-4633-8fc4-83037c5aa6c8" providerId="ADAL" clId="{8384AF98-EF35-4750-97E6-12EFBE471E10}" dt="2021-07-05T14:40:51.014" v="10288" actId="14100"/>
          <ac:cxnSpMkLst>
            <pc:docMk/>
            <pc:sldMk cId="824225204" sldId="2147307525"/>
            <ac:cxnSpMk id="40" creationId="{9ED3AA98-F4DC-44B1-90F0-9904E0B7BCCF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2" creationId="{5ED674F2-85C1-45A5-8D2C-8CC95D875301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5" creationId="{F4A1D9BC-3EBB-4962-8C3E-93701DE5AB7F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6" creationId="{1C670970-7E5A-4F5C-958B-33A4B40BFA73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7" creationId="{EBECF2CD-FFF6-4F35-BD74-0F3767E9ABEC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8" creationId="{2165C8B9-77EF-4FC2-A1F1-82CE41C0EFCD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49" creationId="{4557E328-0021-4BD8-9163-5D734ACDA9EF}"/>
          </ac:cxnSpMkLst>
        </pc:cxnChg>
        <pc:cxnChg chg="add mod">
          <ac:chgData name="Senter, Daniel" userId="95cb641d-0e88-4633-8fc4-83037c5aa6c8" providerId="ADAL" clId="{8384AF98-EF35-4750-97E6-12EFBE471E10}" dt="2021-07-05T09:08:06.410" v="6857" actId="164"/>
          <ac:cxnSpMkLst>
            <pc:docMk/>
            <pc:sldMk cId="824225204" sldId="2147307525"/>
            <ac:cxnSpMk id="50" creationId="{E2BE6A42-A635-4FDE-8845-9266056A0F7C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1" creationId="{302B59F6-CBAB-4749-BCCF-7A58EBAB8B44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2" creationId="{C72E7A9D-2B83-4136-941C-8200DC9E81EF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3" creationId="{1022058B-B593-4D9B-B566-E4828FB9382E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4" creationId="{B376C6B6-7FFB-4E3E-AA36-C477A0C0EB3D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5" creationId="{81961B32-7C5A-4685-BA7B-811B3DF6524F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6" creationId="{DBF62C68-CACB-45DA-8FCA-FFBD92EEAF6E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7" creationId="{B42AEA1D-6A7B-4747-A247-6CA35D877412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8" creationId="{812A7A72-61C8-4EE5-846F-74C73A62A4D0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59" creationId="{7E8C4B4D-7F37-4343-8F61-B3FDA8456B84}"/>
          </ac:cxnSpMkLst>
        </pc:cxnChg>
        <pc:cxnChg chg="add mod">
          <ac:chgData name="Senter, Daniel" userId="95cb641d-0e88-4633-8fc4-83037c5aa6c8" providerId="ADAL" clId="{8384AF98-EF35-4750-97E6-12EFBE471E10}" dt="2021-07-05T09:08:02.001" v="6856" actId="164"/>
          <ac:cxnSpMkLst>
            <pc:docMk/>
            <pc:sldMk cId="824225204" sldId="2147307525"/>
            <ac:cxnSpMk id="60" creationId="{ED8F5F1D-7D2B-43B9-AE45-F066403694B8}"/>
          </ac:cxnSpMkLst>
        </pc:cxnChg>
        <pc:cxnChg chg="add mod">
          <ac:chgData name="Senter, Daniel" userId="95cb641d-0e88-4633-8fc4-83037c5aa6c8" providerId="ADAL" clId="{8384AF98-EF35-4750-97E6-12EFBE471E10}" dt="2021-07-05T14:34:51.042" v="10267" actId="1076"/>
          <ac:cxnSpMkLst>
            <pc:docMk/>
            <pc:sldMk cId="824225204" sldId="2147307525"/>
            <ac:cxnSpMk id="72" creationId="{AEE10CB6-7D9C-41B9-BAD3-C7C5E0447807}"/>
          </ac:cxnSpMkLst>
        </pc:cxnChg>
        <pc:cxnChg chg="add mod">
          <ac:chgData name="Senter, Daniel" userId="95cb641d-0e88-4633-8fc4-83037c5aa6c8" providerId="ADAL" clId="{8384AF98-EF35-4750-97E6-12EFBE471E10}" dt="2021-07-05T14:24:51.501" v="9997" actId="1035"/>
          <ac:cxnSpMkLst>
            <pc:docMk/>
            <pc:sldMk cId="824225204" sldId="2147307525"/>
            <ac:cxnSpMk id="80" creationId="{A5A58BB9-1575-4940-84EE-F49AF8C500D8}"/>
          </ac:cxnSpMkLst>
        </pc:cxnChg>
        <pc:cxnChg chg="add mod">
          <ac:chgData name="Senter, Daniel" userId="95cb641d-0e88-4633-8fc4-83037c5aa6c8" providerId="ADAL" clId="{8384AF98-EF35-4750-97E6-12EFBE471E10}" dt="2021-07-05T14:40:42.285" v="10287" actId="1076"/>
          <ac:cxnSpMkLst>
            <pc:docMk/>
            <pc:sldMk cId="824225204" sldId="2147307525"/>
            <ac:cxnSpMk id="86" creationId="{CEC7C5E4-4299-49FA-B6D6-77B532C415A2}"/>
          </ac:cxnSpMkLst>
        </pc:cxnChg>
      </pc:sldChg>
      <pc:sldChg chg="addSp delSp modSp">
        <pc:chgData name="Senter, Daniel" userId="95cb641d-0e88-4633-8fc4-83037c5aa6c8" providerId="ADAL" clId="{8384AF98-EF35-4750-97E6-12EFBE471E10}" dt="2021-07-06T10:25:26.116" v="11965" actId="20577"/>
        <pc:sldMkLst>
          <pc:docMk/>
          <pc:sldMk cId="127553332" sldId="2147307526"/>
        </pc:sldMkLst>
        <pc:spChg chg="mod">
          <ac:chgData name="Senter, Daniel" userId="95cb641d-0e88-4633-8fc4-83037c5aa6c8" providerId="ADAL" clId="{8384AF98-EF35-4750-97E6-12EFBE471E10}" dt="2021-07-06T07:50:44.175" v="10411" actId="20577"/>
          <ac:spMkLst>
            <pc:docMk/>
            <pc:sldMk cId="127553332" sldId="2147307526"/>
            <ac:spMk id="2" creationId="{B595BFCB-E9C1-4307-B342-9F39692E355F}"/>
          </ac:spMkLst>
        </pc:spChg>
        <pc:spChg chg="mod">
          <ac:chgData name="Senter, Daniel" userId="95cb641d-0e88-4633-8fc4-83037c5aa6c8" providerId="ADAL" clId="{8384AF98-EF35-4750-97E6-12EFBE471E10}" dt="2021-07-05T10:05:53.271" v="7626" actId="14100"/>
          <ac:spMkLst>
            <pc:docMk/>
            <pc:sldMk cId="127553332" sldId="2147307526"/>
            <ac:spMk id="3" creationId="{13511EC8-2AC3-49C3-A460-BD22D7D5F006}"/>
          </ac:spMkLst>
        </pc:spChg>
        <pc:spChg chg="del">
          <ac:chgData name="Senter, Daniel" userId="95cb641d-0e88-4633-8fc4-83037c5aa6c8" providerId="ADAL" clId="{8384AF98-EF35-4750-97E6-12EFBE471E10}" dt="2021-07-05T10:19:26.504" v="8394" actId="478"/>
          <ac:spMkLst>
            <pc:docMk/>
            <pc:sldMk cId="127553332" sldId="2147307526"/>
            <ac:spMk id="4" creationId="{03122E7F-207C-4275-A57F-5C006B6E9A74}"/>
          </ac:spMkLst>
        </pc:spChg>
        <pc:spChg chg="mod">
          <ac:chgData name="Senter, Daniel" userId="95cb641d-0e88-4633-8fc4-83037c5aa6c8" providerId="ADAL" clId="{8384AF98-EF35-4750-97E6-12EFBE471E10}" dt="2021-07-06T07:51:27.278" v="10468" actId="20577"/>
          <ac:spMkLst>
            <pc:docMk/>
            <pc:sldMk cId="127553332" sldId="2147307526"/>
            <ac:spMk id="6" creationId="{A8827986-86D2-4F53-9F9A-1FE20F032AB0}"/>
          </ac:spMkLst>
        </pc:spChg>
        <pc:spChg chg="mod">
          <ac:chgData name="Senter, Daniel" userId="95cb641d-0e88-4633-8fc4-83037c5aa6c8" providerId="ADAL" clId="{8384AF98-EF35-4750-97E6-12EFBE471E10}" dt="2021-07-06T10:25:26.116" v="11965" actId="20577"/>
          <ac:spMkLst>
            <pc:docMk/>
            <pc:sldMk cId="127553332" sldId="2147307526"/>
            <ac:spMk id="7" creationId="{B81D1DD6-C411-4C17-91D7-583D53814FC5}"/>
          </ac:spMkLst>
        </pc:spChg>
        <pc:spChg chg="add mod">
          <ac:chgData name="Senter, Daniel" userId="95cb641d-0e88-4633-8fc4-83037c5aa6c8" providerId="ADAL" clId="{8384AF98-EF35-4750-97E6-12EFBE471E10}" dt="2021-07-05T14:34:23.108" v="10266" actId="1036"/>
          <ac:spMkLst>
            <pc:docMk/>
            <pc:sldMk cId="127553332" sldId="2147307526"/>
            <ac:spMk id="25" creationId="{DBF90DF7-3826-47CC-A7F8-09E55E9AF6F9}"/>
          </ac:spMkLst>
        </pc:spChg>
        <pc:spChg chg="mod">
          <ac:chgData name="Senter, Daniel" userId="95cb641d-0e88-4633-8fc4-83037c5aa6c8" providerId="ADAL" clId="{8384AF98-EF35-4750-97E6-12EFBE471E10}" dt="2021-07-05T14:34:23.108" v="10266" actId="1036"/>
          <ac:spMkLst>
            <pc:docMk/>
            <pc:sldMk cId="127553332" sldId="2147307526"/>
            <ac:spMk id="42" creationId="{4885A463-D082-4D24-8EF6-0DAED8EB2A7C}"/>
          </ac:spMkLst>
        </pc:spChg>
        <pc:spChg chg="add mod">
          <ac:chgData name="Senter, Daniel" userId="95cb641d-0e88-4633-8fc4-83037c5aa6c8" providerId="ADAL" clId="{8384AF98-EF35-4750-97E6-12EFBE471E10}" dt="2021-07-05T12:10:14.738" v="9345" actId="6549"/>
          <ac:spMkLst>
            <pc:docMk/>
            <pc:sldMk cId="127553332" sldId="2147307526"/>
            <ac:spMk id="46" creationId="{8BBC76B2-1B02-4B92-A667-D03D7BC3C18B}"/>
          </ac:spMkLst>
        </pc:spChg>
        <pc:spChg chg="add del mod">
          <ac:chgData name="Senter, Daniel" userId="95cb641d-0e88-4633-8fc4-83037c5aa6c8" providerId="ADAL" clId="{8384AF98-EF35-4750-97E6-12EFBE471E10}" dt="2021-07-05T14:29:28.678" v="10120" actId="478"/>
          <ac:spMkLst>
            <pc:docMk/>
            <pc:sldMk cId="127553332" sldId="2147307526"/>
            <ac:spMk id="47" creationId="{A7AD6FC3-6EF0-4158-8DE5-ACC1FD0ABBF8}"/>
          </ac:spMkLst>
        </pc:spChg>
        <pc:spChg chg="add mod">
          <ac:chgData name="Senter, Daniel" userId="95cb641d-0e88-4633-8fc4-83037c5aa6c8" providerId="ADAL" clId="{8384AF98-EF35-4750-97E6-12EFBE471E10}" dt="2021-07-06T08:30:26.617" v="10965" actId="1036"/>
          <ac:spMkLst>
            <pc:docMk/>
            <pc:sldMk cId="127553332" sldId="2147307526"/>
            <ac:spMk id="48" creationId="{28391F68-6387-4DCD-B28C-C66AC17B59E1}"/>
          </ac:spMkLst>
        </pc:spChg>
        <pc:spChg chg="mod">
          <ac:chgData name="Senter, Daniel" userId="95cb641d-0e88-4633-8fc4-83037c5aa6c8" providerId="ADAL" clId="{8384AF98-EF35-4750-97E6-12EFBE471E10}" dt="2021-07-05T10:05:46.511" v="7624" actId="1076"/>
          <ac:spMkLst>
            <pc:docMk/>
            <pc:sldMk cId="127553332" sldId="2147307526"/>
            <ac:spMk id="50" creationId="{1719E35C-3C5E-498D-BFF1-C0D9604E52C1}"/>
          </ac:spMkLst>
        </pc:spChg>
        <pc:spChg chg="mod">
          <ac:chgData name="Senter, Daniel" userId="95cb641d-0e88-4633-8fc4-83037c5aa6c8" providerId="ADAL" clId="{8384AF98-EF35-4750-97E6-12EFBE471E10}" dt="2021-07-05T10:06:01.870" v="7628" actId="1076"/>
          <ac:spMkLst>
            <pc:docMk/>
            <pc:sldMk cId="127553332" sldId="2147307526"/>
            <ac:spMk id="52" creationId="{53BECFD7-BE99-4BE0-AED7-A8F7EA690E32}"/>
          </ac:spMkLst>
        </pc:spChg>
        <pc:grpChg chg="mod">
          <ac:chgData name="Senter, Daniel" userId="95cb641d-0e88-4633-8fc4-83037c5aa6c8" providerId="ADAL" clId="{8384AF98-EF35-4750-97E6-12EFBE471E10}" dt="2021-07-05T14:34:23.108" v="10266" actId="1036"/>
          <ac:grpSpMkLst>
            <pc:docMk/>
            <pc:sldMk cId="127553332" sldId="2147307526"/>
            <ac:grpSpMk id="84" creationId="{92BEFA6D-490D-4D7A-A13E-349B66C63BDD}"/>
          </ac:grpSpMkLst>
        </pc:grpChg>
        <pc:graphicFrameChg chg="mod modGraphic">
          <ac:chgData name="Senter, Daniel" userId="95cb641d-0e88-4633-8fc4-83037c5aa6c8" providerId="ADAL" clId="{8384AF98-EF35-4750-97E6-12EFBE471E10}" dt="2021-07-06T07:57:07.594" v="10695" actId="20577"/>
          <ac:graphicFrameMkLst>
            <pc:docMk/>
            <pc:sldMk cId="127553332" sldId="2147307526"/>
            <ac:graphicFrameMk id="8" creationId="{C2C8CDB3-EBA7-4DE4-AB1F-C7AF7F361AE4}"/>
          </ac:graphicFrameMkLst>
        </pc:graphicFrame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44" creationId="{9DB6647F-8EF8-4885-82D3-8576E4BF452F}"/>
          </ac:cxnSpMkLst>
        </pc:cxn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54" creationId="{99D8C763-55FD-4D01-AD8B-B337C25940B9}"/>
          </ac:cxnSpMkLst>
        </pc:cxn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57" creationId="{C4560087-C750-4BFC-BCDB-75D004E7EA8F}"/>
          </ac:cxnSpMkLst>
        </pc:cxn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63" creationId="{85A3428F-302B-41C4-B1C3-9D6ADAB97124}"/>
          </ac:cxnSpMkLst>
        </pc:cxnChg>
        <pc:cxnChg chg="mod">
          <ac:chgData name="Senter, Daniel" userId="95cb641d-0e88-4633-8fc4-83037c5aa6c8" providerId="ADAL" clId="{8384AF98-EF35-4750-97E6-12EFBE471E10}" dt="2021-07-05T10:05:53.271" v="7626" actId="14100"/>
          <ac:cxnSpMkLst>
            <pc:docMk/>
            <pc:sldMk cId="127553332" sldId="2147307526"/>
            <ac:cxnSpMk id="70" creationId="{915A776D-6990-4111-9EF0-AE6675CE10A2}"/>
          </ac:cxnSpMkLst>
        </pc:cxn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144" creationId="{AD9D06BB-772C-40B6-9234-A1BF1FEF1B05}"/>
          </ac:cxnSpMkLst>
        </pc:cxnChg>
        <pc:cxnChg chg="mod">
          <ac:chgData name="Senter, Daniel" userId="95cb641d-0e88-4633-8fc4-83037c5aa6c8" providerId="ADAL" clId="{8384AF98-EF35-4750-97E6-12EFBE471E10}" dt="2021-07-05T10:05:46.511" v="7624" actId="1076"/>
          <ac:cxnSpMkLst>
            <pc:docMk/>
            <pc:sldMk cId="127553332" sldId="2147307526"/>
            <ac:cxnSpMk id="149" creationId="{6E0D1F6B-61D0-41D0-A511-EFB8201843AB}"/>
          </ac:cxnSpMkLst>
        </pc:cxnChg>
      </pc:sldChg>
      <pc:sldMasterChg chg="delSldLayout">
        <pc:chgData name="Senter, Daniel" userId="95cb641d-0e88-4633-8fc4-83037c5aa6c8" providerId="ADAL" clId="{8384AF98-EF35-4750-97E6-12EFBE471E10}" dt="2021-06-28T08:10:13.928" v="29" actId="2696"/>
        <pc:sldMasterMkLst>
          <pc:docMk/>
          <pc:sldMasterMk cId="1030417972" sldId="2147483660"/>
        </pc:sldMasterMkLst>
      </pc:sldMasterChg>
    </pc:docChg>
  </pc:docChgLst>
  <pc:docChgLst>
    <pc:chgData name="Robertson, Daniel" userId="4fd6f56b-898f-4008-a6b4-11eaf568a331" providerId="ADAL" clId="{ACE9FE2A-C431-4B46-A7CB-4BFE06BB5A8D}"/>
    <pc:docChg chg="custSel modSld">
      <pc:chgData name="Robertson, Daniel" userId="4fd6f56b-898f-4008-a6b4-11eaf568a331" providerId="ADAL" clId="{ACE9FE2A-C431-4B46-A7CB-4BFE06BB5A8D}" dt="2021-07-06T20:31:21.753" v="1467" actId="20577"/>
      <pc:docMkLst>
        <pc:docMk/>
      </pc:docMkLst>
      <pc:sldChg chg="modSp mod">
        <pc:chgData name="Robertson, Daniel" userId="4fd6f56b-898f-4008-a6b4-11eaf568a331" providerId="ADAL" clId="{ACE9FE2A-C431-4B46-A7CB-4BFE06BB5A8D}" dt="2021-07-06T20:30:17.701" v="1423" actId="20577"/>
        <pc:sldMkLst>
          <pc:docMk/>
          <pc:sldMk cId="1760984849" sldId="838840200"/>
        </pc:sldMkLst>
        <pc:spChg chg="mod">
          <ac:chgData name="Robertson, Daniel" userId="4fd6f56b-898f-4008-a6b4-11eaf568a331" providerId="ADAL" clId="{ACE9FE2A-C431-4B46-A7CB-4BFE06BB5A8D}" dt="2021-07-06T20:30:17.701" v="1423" actId="20577"/>
          <ac:spMkLst>
            <pc:docMk/>
            <pc:sldMk cId="1760984849" sldId="838840200"/>
            <ac:spMk id="7" creationId="{0152D32C-30A0-407E-94EA-EFBA4F873C0F}"/>
          </ac:spMkLst>
        </pc:spChg>
        <pc:spChg chg="mod">
          <ac:chgData name="Robertson, Daniel" userId="4fd6f56b-898f-4008-a6b4-11eaf568a331" providerId="ADAL" clId="{ACE9FE2A-C431-4B46-A7CB-4BFE06BB5A8D}" dt="2021-07-06T19:59:37.816" v="20" actId="20577"/>
          <ac:spMkLst>
            <pc:docMk/>
            <pc:sldMk cId="1760984849" sldId="838840200"/>
            <ac:spMk id="16" creationId="{642D4DBA-35BE-4E67-BFD8-A85ADA2BDE37}"/>
          </ac:spMkLst>
        </pc:spChg>
        <pc:graphicFrameChg chg="modGraphic">
          <ac:chgData name="Robertson, Daniel" userId="4fd6f56b-898f-4008-a6b4-11eaf568a331" providerId="ADAL" clId="{ACE9FE2A-C431-4B46-A7CB-4BFE06BB5A8D}" dt="2021-07-06T20:12:00.297" v="589" actId="20577"/>
          <ac:graphicFrameMkLst>
            <pc:docMk/>
            <pc:sldMk cId="1760984849" sldId="838840200"/>
            <ac:graphicFrameMk id="3" creationId="{B9BE99C4-8C9A-49C3-8DEB-59632364C38C}"/>
          </ac:graphicFrameMkLst>
        </pc:graphicFrameChg>
      </pc:sldChg>
      <pc:sldChg chg="addSp modSp mod">
        <pc:chgData name="Robertson, Daniel" userId="4fd6f56b-898f-4008-a6b4-11eaf568a331" providerId="ADAL" clId="{ACE9FE2A-C431-4B46-A7CB-4BFE06BB5A8D}" dt="2021-07-06T20:15:13.088" v="667" actId="14100"/>
        <pc:sldMkLst>
          <pc:docMk/>
          <pc:sldMk cId="4135496317" sldId="2147307523"/>
        </pc:sldMkLst>
        <pc:spChg chg="add mod">
          <ac:chgData name="Robertson, Daniel" userId="4fd6f56b-898f-4008-a6b4-11eaf568a331" providerId="ADAL" clId="{ACE9FE2A-C431-4B46-A7CB-4BFE06BB5A8D}" dt="2021-07-06T20:15:13.088" v="667" actId="14100"/>
          <ac:spMkLst>
            <pc:docMk/>
            <pc:sldMk cId="4135496317" sldId="2147307523"/>
            <ac:spMk id="55" creationId="{8963917B-ADFE-42B0-BBC5-1F771C195204}"/>
          </ac:spMkLst>
        </pc:spChg>
      </pc:sldChg>
      <pc:sldChg chg="addSp delSp modSp mod">
        <pc:chgData name="Robertson, Daniel" userId="4fd6f56b-898f-4008-a6b4-11eaf568a331" providerId="ADAL" clId="{ACE9FE2A-C431-4B46-A7CB-4BFE06BB5A8D}" dt="2021-07-06T20:25:53.764" v="1055" actId="20577"/>
        <pc:sldMkLst>
          <pc:docMk/>
          <pc:sldMk cId="1208402770" sldId="2147307524"/>
        </pc:sldMkLst>
        <pc:spChg chg="mod">
          <ac:chgData name="Robertson, Daniel" userId="4fd6f56b-898f-4008-a6b4-11eaf568a331" providerId="ADAL" clId="{ACE9FE2A-C431-4B46-A7CB-4BFE06BB5A8D}" dt="2021-07-06T20:22:10.182" v="681" actId="6549"/>
          <ac:spMkLst>
            <pc:docMk/>
            <pc:sldMk cId="1208402770" sldId="2147307524"/>
            <ac:spMk id="8" creationId="{651F3BC0-C5AF-42AB-B14D-820CB7F75E5E}"/>
          </ac:spMkLst>
        </pc:spChg>
        <pc:spChg chg="mod">
          <ac:chgData name="Robertson, Daniel" userId="4fd6f56b-898f-4008-a6b4-11eaf568a331" providerId="ADAL" clId="{ACE9FE2A-C431-4B46-A7CB-4BFE06BB5A8D}" dt="2021-07-06T20:22:44.748" v="685" actId="20577"/>
          <ac:spMkLst>
            <pc:docMk/>
            <pc:sldMk cId="1208402770" sldId="2147307524"/>
            <ac:spMk id="11" creationId="{785910D9-8EB5-47E7-A6C4-896EE37C59E8}"/>
          </ac:spMkLst>
        </pc:spChg>
        <pc:spChg chg="add mod">
          <ac:chgData name="Robertson, Daniel" userId="4fd6f56b-898f-4008-a6b4-11eaf568a331" providerId="ADAL" clId="{ACE9FE2A-C431-4B46-A7CB-4BFE06BB5A8D}" dt="2021-07-06T20:25:53.764" v="1055" actId="20577"/>
          <ac:spMkLst>
            <pc:docMk/>
            <pc:sldMk cId="1208402770" sldId="2147307524"/>
            <ac:spMk id="12" creationId="{774F4560-0DBB-440F-830C-66B4BD3CCB90}"/>
          </ac:spMkLst>
        </pc:spChg>
        <pc:spChg chg="add del mod">
          <ac:chgData name="Robertson, Daniel" userId="4fd6f56b-898f-4008-a6b4-11eaf568a331" providerId="ADAL" clId="{ACE9FE2A-C431-4B46-A7CB-4BFE06BB5A8D}" dt="2021-07-06T20:23:11.998" v="690" actId="478"/>
          <ac:spMkLst>
            <pc:docMk/>
            <pc:sldMk cId="1208402770" sldId="2147307524"/>
            <ac:spMk id="14" creationId="{19AEF89E-A750-4788-A3E9-C76E500AAFB9}"/>
          </ac:spMkLst>
        </pc:spChg>
        <pc:spChg chg="add mod">
          <ac:chgData name="Robertson, Daniel" userId="4fd6f56b-898f-4008-a6b4-11eaf568a331" providerId="ADAL" clId="{ACE9FE2A-C431-4B46-A7CB-4BFE06BB5A8D}" dt="2021-07-06T20:23:01.113" v="687" actId="1076"/>
          <ac:spMkLst>
            <pc:docMk/>
            <pc:sldMk cId="1208402770" sldId="2147307524"/>
            <ac:spMk id="15" creationId="{FBCD332F-7D75-4305-A747-41981E747E81}"/>
          </ac:spMkLst>
        </pc:spChg>
      </pc:sldChg>
      <pc:sldChg chg="addSp modSp mod">
        <pc:chgData name="Robertson, Daniel" userId="4fd6f56b-898f-4008-a6b4-11eaf568a331" providerId="ADAL" clId="{ACE9FE2A-C431-4B46-A7CB-4BFE06BB5A8D}" dt="2021-07-06T20:28:38.550" v="1397" actId="20577"/>
        <pc:sldMkLst>
          <pc:docMk/>
          <pc:sldMk cId="824225204" sldId="2147307525"/>
        </pc:sldMkLst>
        <pc:spChg chg="mod">
          <ac:chgData name="Robertson, Daniel" userId="4fd6f56b-898f-4008-a6b4-11eaf568a331" providerId="ADAL" clId="{ACE9FE2A-C431-4B46-A7CB-4BFE06BB5A8D}" dt="2021-07-06T19:55:29.187" v="7" actId="20577"/>
          <ac:spMkLst>
            <pc:docMk/>
            <pc:sldMk cId="824225204" sldId="2147307525"/>
            <ac:spMk id="12" creationId="{6C680E7F-3871-4AEB-9C11-7CDF8FFE0191}"/>
          </ac:spMkLst>
        </pc:spChg>
        <pc:spChg chg="add mod">
          <ac:chgData name="Robertson, Daniel" userId="4fd6f56b-898f-4008-a6b4-11eaf568a331" providerId="ADAL" clId="{ACE9FE2A-C431-4B46-A7CB-4BFE06BB5A8D}" dt="2021-07-06T20:28:38.550" v="1397" actId="20577"/>
          <ac:spMkLst>
            <pc:docMk/>
            <pc:sldMk cId="824225204" sldId="2147307525"/>
            <ac:spMk id="61" creationId="{204E4A63-4517-4CCA-BBA3-3A2EE88642AE}"/>
          </ac:spMkLst>
        </pc:spChg>
        <pc:spChg chg="add mod">
          <ac:chgData name="Robertson, Daniel" userId="4fd6f56b-898f-4008-a6b4-11eaf568a331" providerId="ADAL" clId="{ACE9FE2A-C431-4B46-A7CB-4BFE06BB5A8D}" dt="2021-07-06T20:26:46.020" v="1076" actId="1035"/>
          <ac:spMkLst>
            <pc:docMk/>
            <pc:sldMk cId="824225204" sldId="2147307525"/>
            <ac:spMk id="67" creationId="{BAF934F6-F47B-413B-AAB9-BC2563882104}"/>
          </ac:spMkLst>
        </pc:spChg>
      </pc:sldChg>
      <pc:sldChg chg="delSp modSp mod">
        <pc:chgData name="Robertson, Daniel" userId="4fd6f56b-898f-4008-a6b4-11eaf568a331" providerId="ADAL" clId="{ACE9FE2A-C431-4B46-A7CB-4BFE06BB5A8D}" dt="2021-07-06T20:31:21.753" v="1467" actId="20577"/>
        <pc:sldMkLst>
          <pc:docMk/>
          <pc:sldMk cId="127553332" sldId="2147307526"/>
        </pc:sldMkLst>
        <pc:spChg chg="mod">
          <ac:chgData name="Robertson, Daniel" userId="4fd6f56b-898f-4008-a6b4-11eaf568a331" providerId="ADAL" clId="{ACE9FE2A-C431-4B46-A7CB-4BFE06BB5A8D}" dt="2021-07-06T20:31:21.753" v="1467" actId="20577"/>
          <ac:spMkLst>
            <pc:docMk/>
            <pc:sldMk cId="127553332" sldId="2147307526"/>
            <ac:spMk id="48" creationId="{28391F68-6387-4DCD-B28C-C66AC17B59E1}"/>
          </ac:spMkLst>
        </pc:spChg>
        <pc:graphicFrameChg chg="del modGraphic">
          <ac:chgData name="Robertson, Daniel" userId="4fd6f56b-898f-4008-a6b4-11eaf568a331" providerId="ADAL" clId="{ACE9FE2A-C431-4B46-A7CB-4BFE06BB5A8D}" dt="2021-07-06T20:29:18.199" v="1399" actId="478"/>
          <ac:graphicFrameMkLst>
            <pc:docMk/>
            <pc:sldMk cId="127553332" sldId="2147307526"/>
            <ac:graphicFrameMk id="8" creationId="{C2C8CDB3-EBA7-4DE4-AB1F-C7AF7F361AE4}"/>
          </ac:graphicFrameMkLst>
        </pc:graphicFrameChg>
      </pc:sldChg>
    </pc:docChg>
  </pc:docChgLst>
  <pc:docChgLst>
    <pc:chgData name="Bharj, Kam" userId="c346c863-01be-4a71-ba36-8d40a81621a7" providerId="ADAL" clId="{22455410-1E34-41AE-817E-0F0AE0B3F8E3}"/>
    <pc:docChg chg="undo custSel addSld delSld modSld sldOrd modSection">
      <pc:chgData name="Bharj, Kam" userId="c346c863-01be-4a71-ba36-8d40a81621a7" providerId="ADAL" clId="{22455410-1E34-41AE-817E-0F0AE0B3F8E3}" dt="2021-07-06T16:51:26.463" v="5278" actId="478"/>
      <pc:docMkLst>
        <pc:docMk/>
      </pc:docMkLst>
      <pc:sldChg chg="addSp delSp">
        <pc:chgData name="Bharj, Kam" userId="c346c863-01be-4a71-ba36-8d40a81621a7" providerId="ADAL" clId="{22455410-1E34-41AE-817E-0F0AE0B3F8E3}" dt="2021-07-06T16:43:15.624" v="5218"/>
        <pc:sldMkLst>
          <pc:docMk/>
          <pc:sldMk cId="136374311" sldId="3947"/>
        </pc:sldMkLst>
        <pc:spChg chg="del">
          <ac:chgData name="Bharj, Kam" userId="c346c863-01be-4a71-ba36-8d40a81621a7" providerId="ADAL" clId="{22455410-1E34-41AE-817E-0F0AE0B3F8E3}" dt="2021-07-06T16:43:15.325" v="5217" actId="478"/>
          <ac:spMkLst>
            <pc:docMk/>
            <pc:sldMk cId="136374311" sldId="3947"/>
            <ac:spMk id="4" creationId="{860B9093-6B3A-4D20-A425-89151B688295}"/>
          </ac:spMkLst>
        </pc:spChg>
        <pc:spChg chg="add">
          <ac:chgData name="Bharj, Kam" userId="c346c863-01be-4a71-ba36-8d40a81621a7" providerId="ADAL" clId="{22455410-1E34-41AE-817E-0F0AE0B3F8E3}" dt="2021-07-06T16:43:15.624" v="5218"/>
          <ac:spMkLst>
            <pc:docMk/>
            <pc:sldMk cId="136374311" sldId="3947"/>
            <ac:spMk id="5" creationId="{EF0A597B-644B-487B-895A-1E82DC57470D}"/>
          </ac:spMkLst>
        </pc:spChg>
      </pc:sldChg>
      <pc:sldChg chg="addSp delSp">
        <pc:chgData name="Bharj, Kam" userId="c346c863-01be-4a71-ba36-8d40a81621a7" providerId="ADAL" clId="{22455410-1E34-41AE-817E-0F0AE0B3F8E3}" dt="2021-07-06T16:43:32.365" v="5228"/>
        <pc:sldMkLst>
          <pc:docMk/>
          <pc:sldMk cId="2905865635" sldId="4096"/>
        </pc:sldMkLst>
        <pc:spChg chg="del">
          <ac:chgData name="Bharj, Kam" userId="c346c863-01be-4a71-ba36-8d40a81621a7" providerId="ADAL" clId="{22455410-1E34-41AE-817E-0F0AE0B3F8E3}" dt="2021-07-06T16:43:32.117" v="5227" actId="478"/>
          <ac:spMkLst>
            <pc:docMk/>
            <pc:sldMk cId="2905865635" sldId="4096"/>
            <ac:spMk id="4" creationId="{1AB7AEFE-3F4F-4BE1-B4EA-4B0AB0F96F90}"/>
          </ac:spMkLst>
        </pc:spChg>
        <pc:spChg chg="add">
          <ac:chgData name="Bharj, Kam" userId="c346c863-01be-4a71-ba36-8d40a81621a7" providerId="ADAL" clId="{22455410-1E34-41AE-817E-0F0AE0B3F8E3}" dt="2021-07-06T16:43:32.365" v="5228"/>
          <ac:spMkLst>
            <pc:docMk/>
            <pc:sldMk cId="2905865635" sldId="4096"/>
            <ac:spMk id="5" creationId="{7667631B-FCD3-43F2-A1C9-08C4E95D4003}"/>
          </ac:spMkLst>
        </pc:spChg>
      </pc:sldChg>
      <pc:sldChg chg="addSp delSp">
        <pc:chgData name="Bharj, Kam" userId="c346c863-01be-4a71-ba36-8d40a81621a7" providerId="ADAL" clId="{22455410-1E34-41AE-817E-0F0AE0B3F8E3}" dt="2021-07-06T16:43:50.757" v="5238"/>
        <pc:sldMkLst>
          <pc:docMk/>
          <pc:sldMk cId="2640996553" sldId="838839870"/>
        </pc:sldMkLst>
        <pc:spChg chg="add del">
          <ac:chgData name="Bharj, Kam" userId="c346c863-01be-4a71-ba36-8d40a81621a7" providerId="ADAL" clId="{22455410-1E34-41AE-817E-0F0AE0B3F8E3}" dt="2021-07-06T16:43:48.287" v="5236" actId="478"/>
          <ac:spMkLst>
            <pc:docMk/>
            <pc:sldMk cId="2640996553" sldId="838839870"/>
            <ac:spMk id="16" creationId="{00400A28-6617-47B6-83C3-A0D1F221AD1B}"/>
          </ac:spMkLst>
        </pc:spChg>
        <pc:spChg chg="del">
          <ac:chgData name="Bharj, Kam" userId="c346c863-01be-4a71-ba36-8d40a81621a7" providerId="ADAL" clId="{22455410-1E34-41AE-817E-0F0AE0B3F8E3}" dt="2021-07-06T16:43:50.403" v="5237" actId="478"/>
          <ac:spMkLst>
            <pc:docMk/>
            <pc:sldMk cId="2640996553" sldId="838839870"/>
            <ac:spMk id="17" creationId="{CB92C748-06E1-42FF-B6B4-BD3E7857185C}"/>
          </ac:spMkLst>
        </pc:spChg>
        <pc:spChg chg="add">
          <ac:chgData name="Bharj, Kam" userId="c346c863-01be-4a71-ba36-8d40a81621a7" providerId="ADAL" clId="{22455410-1E34-41AE-817E-0F0AE0B3F8E3}" dt="2021-07-06T16:43:50.757" v="5238"/>
          <ac:spMkLst>
            <pc:docMk/>
            <pc:sldMk cId="2640996553" sldId="838839870"/>
            <ac:spMk id="18" creationId="{C9201B66-CBC8-408D-91CE-2265E30856A7}"/>
          </ac:spMkLst>
        </pc:spChg>
      </pc:sldChg>
      <pc:sldChg chg="addSp modSp">
        <pc:chgData name="Bharj, Kam" userId="c346c863-01be-4a71-ba36-8d40a81621a7" providerId="ADAL" clId="{22455410-1E34-41AE-817E-0F0AE0B3F8E3}" dt="2021-07-06T16:43:08.137" v="5216" actId="20577"/>
        <pc:sldMkLst>
          <pc:docMk/>
          <pc:sldMk cId="1760984849" sldId="838840200"/>
        </pc:sldMkLst>
        <pc:spChg chg="mod">
          <ac:chgData name="Bharj, Kam" userId="c346c863-01be-4a71-ba36-8d40a81621a7" providerId="ADAL" clId="{22455410-1E34-41AE-817E-0F0AE0B3F8E3}" dt="2021-07-06T16:43:08.137" v="5216" actId="20577"/>
          <ac:spMkLst>
            <pc:docMk/>
            <pc:sldMk cId="1760984849" sldId="838840200"/>
            <ac:spMk id="4" creationId="{9A3D5A5F-3F65-41E9-AEDA-C93706787AF0}"/>
          </ac:spMkLst>
        </pc:spChg>
        <pc:spChg chg="add mod">
          <ac:chgData name="Bharj, Kam" userId="c346c863-01be-4a71-ba36-8d40a81621a7" providerId="ADAL" clId="{22455410-1E34-41AE-817E-0F0AE0B3F8E3}" dt="2021-07-06T16:31:46.018" v="5187" actId="20577"/>
          <ac:spMkLst>
            <pc:docMk/>
            <pc:sldMk cId="1760984849" sldId="838840200"/>
            <ac:spMk id="7" creationId="{0152D32C-30A0-407E-94EA-EFBA4F873C0F}"/>
          </ac:spMkLst>
        </pc:spChg>
        <pc:spChg chg="mod">
          <ac:chgData name="Bharj, Kam" userId="c346c863-01be-4a71-ba36-8d40a81621a7" providerId="ADAL" clId="{22455410-1E34-41AE-817E-0F0AE0B3F8E3}" dt="2021-07-02T15:07:55.046" v="1617" actId="20577"/>
          <ac:spMkLst>
            <pc:docMk/>
            <pc:sldMk cId="1760984849" sldId="838840200"/>
            <ac:spMk id="16" creationId="{642D4DBA-35BE-4E67-BFD8-A85ADA2BDE37}"/>
          </ac:spMkLst>
        </pc:spChg>
        <pc:graphicFrameChg chg="mod modGraphic">
          <ac:chgData name="Bharj, Kam" userId="c346c863-01be-4a71-ba36-8d40a81621a7" providerId="ADAL" clId="{22455410-1E34-41AE-817E-0F0AE0B3F8E3}" dt="2021-07-06T16:30:08.178" v="5143" actId="20577"/>
          <ac:graphicFrameMkLst>
            <pc:docMk/>
            <pc:sldMk cId="1760984849" sldId="838840200"/>
            <ac:graphicFrameMk id="3" creationId="{B9BE99C4-8C9A-49C3-8DEB-59632364C38C}"/>
          </ac:graphicFrameMkLst>
        </pc:graphicFrameChg>
      </pc:sldChg>
      <pc:sldChg chg="addSp delSp">
        <pc:chgData name="Bharj, Kam" userId="c346c863-01be-4a71-ba36-8d40a81621a7" providerId="ADAL" clId="{22455410-1E34-41AE-817E-0F0AE0B3F8E3}" dt="2021-07-06T16:43:41.738" v="5233"/>
        <pc:sldMkLst>
          <pc:docMk/>
          <pc:sldMk cId="3198995261" sldId="838840203"/>
        </pc:sldMkLst>
        <pc:spChg chg="del">
          <ac:chgData name="Bharj, Kam" userId="c346c863-01be-4a71-ba36-8d40a81621a7" providerId="ADAL" clId="{22455410-1E34-41AE-817E-0F0AE0B3F8E3}" dt="2021-07-06T16:43:41.334" v="5232" actId="478"/>
          <ac:spMkLst>
            <pc:docMk/>
            <pc:sldMk cId="3198995261" sldId="838840203"/>
            <ac:spMk id="6" creationId="{3FB5D0F6-9BA4-4DA2-87EF-8370F7C3827A}"/>
          </ac:spMkLst>
        </pc:spChg>
        <pc:spChg chg="add">
          <ac:chgData name="Bharj, Kam" userId="c346c863-01be-4a71-ba36-8d40a81621a7" providerId="ADAL" clId="{22455410-1E34-41AE-817E-0F0AE0B3F8E3}" dt="2021-07-06T16:43:41.738" v="5233"/>
          <ac:spMkLst>
            <pc:docMk/>
            <pc:sldMk cId="3198995261" sldId="838840203"/>
            <ac:spMk id="8" creationId="{DC781E0F-358F-4BBA-8BD2-DDC5D503158F}"/>
          </ac:spMkLst>
        </pc:spChg>
      </pc:sldChg>
      <pc:sldChg chg="addSp delSp">
        <pc:chgData name="Bharj, Kam" userId="c346c863-01be-4a71-ba36-8d40a81621a7" providerId="ADAL" clId="{22455410-1E34-41AE-817E-0F0AE0B3F8E3}" dt="2021-07-06T16:43:38.005" v="5231"/>
        <pc:sldMkLst>
          <pc:docMk/>
          <pc:sldMk cId="1742480203" sldId="838840204"/>
        </pc:sldMkLst>
        <pc:spChg chg="del">
          <ac:chgData name="Bharj, Kam" userId="c346c863-01be-4a71-ba36-8d40a81621a7" providerId="ADAL" clId="{22455410-1E34-41AE-817E-0F0AE0B3F8E3}" dt="2021-07-06T16:43:37.683" v="5230" actId="478"/>
          <ac:spMkLst>
            <pc:docMk/>
            <pc:sldMk cId="1742480203" sldId="838840204"/>
            <ac:spMk id="4" creationId="{9A3D5A5F-3F65-41E9-AEDA-C93706787AF0}"/>
          </ac:spMkLst>
        </pc:spChg>
        <pc:spChg chg="add">
          <ac:chgData name="Bharj, Kam" userId="c346c863-01be-4a71-ba36-8d40a81621a7" providerId="ADAL" clId="{22455410-1E34-41AE-817E-0F0AE0B3F8E3}" dt="2021-07-06T16:43:38.005" v="5231"/>
          <ac:spMkLst>
            <pc:docMk/>
            <pc:sldMk cId="1742480203" sldId="838840204"/>
            <ac:spMk id="7" creationId="{8F259F4B-794F-4112-8CA0-786640EE25A5}"/>
          </ac:spMkLst>
        </pc:spChg>
      </pc:sldChg>
      <pc:sldChg chg="addSp">
        <pc:chgData name="Bharj, Kam" userId="c346c863-01be-4a71-ba36-8d40a81621a7" providerId="ADAL" clId="{22455410-1E34-41AE-817E-0F0AE0B3F8E3}" dt="2021-07-06T16:43:44.081" v="5234"/>
        <pc:sldMkLst>
          <pc:docMk/>
          <pc:sldMk cId="1517717599" sldId="2147307518"/>
        </pc:sldMkLst>
        <pc:spChg chg="add">
          <ac:chgData name="Bharj, Kam" userId="c346c863-01be-4a71-ba36-8d40a81621a7" providerId="ADAL" clId="{22455410-1E34-41AE-817E-0F0AE0B3F8E3}" dt="2021-07-06T16:43:44.081" v="5234"/>
          <ac:spMkLst>
            <pc:docMk/>
            <pc:sldMk cId="1517717599" sldId="2147307518"/>
            <ac:spMk id="90" creationId="{5D67E009-CBC8-433E-ABAA-629B2F768028}"/>
          </ac:spMkLst>
        </pc:spChg>
      </pc:sldChg>
      <pc:sldChg chg="addSp delSp modSp del">
        <pc:chgData name="Bharj, Kam" userId="c346c863-01be-4a71-ba36-8d40a81621a7" providerId="ADAL" clId="{22455410-1E34-41AE-817E-0F0AE0B3F8E3}" dt="2021-07-06T16:38:13.493" v="5193" actId="2696"/>
        <pc:sldMkLst>
          <pc:docMk/>
          <pc:sldMk cId="3793478837" sldId="2147307519"/>
        </pc:sldMkLst>
        <pc:spChg chg="del">
          <ac:chgData name="Bharj, Kam" userId="c346c863-01be-4a71-ba36-8d40a81621a7" providerId="ADAL" clId="{22455410-1E34-41AE-817E-0F0AE0B3F8E3}" dt="2021-07-01T09:30:39.913" v="152" actId="478"/>
          <ac:spMkLst>
            <pc:docMk/>
            <pc:sldMk cId="3793478837" sldId="2147307519"/>
            <ac:spMk id="2" creationId="{CDE3F0B2-4B69-4744-8F00-9975B62FCAFB}"/>
          </ac:spMkLst>
        </pc:spChg>
        <pc:spChg chg="mod">
          <ac:chgData name="Bharj, Kam" userId="c346c863-01be-4a71-ba36-8d40a81621a7" providerId="ADAL" clId="{22455410-1E34-41AE-817E-0F0AE0B3F8E3}" dt="2021-07-01T09:34:14.357" v="223" actId="20577"/>
          <ac:spMkLst>
            <pc:docMk/>
            <pc:sldMk cId="3793478837" sldId="2147307519"/>
            <ac:spMk id="3" creationId="{D5CB5F05-37CB-42CE-A58F-294EA3E94A93}"/>
          </ac:spMkLst>
        </pc:spChg>
        <pc:spChg chg="del mod">
          <ac:chgData name="Bharj, Kam" userId="c346c863-01be-4a71-ba36-8d40a81621a7" providerId="ADAL" clId="{22455410-1E34-41AE-817E-0F0AE0B3F8E3}" dt="2021-07-01T09:34:47.763" v="240" actId="478"/>
          <ac:spMkLst>
            <pc:docMk/>
            <pc:sldMk cId="3793478837" sldId="2147307519"/>
            <ac:spMk id="4" creationId="{798ADC76-A0C7-40C1-B557-B916FB8A808D}"/>
          </ac:spMkLst>
        </pc:spChg>
        <pc:spChg chg="del">
          <ac:chgData name="Bharj, Kam" userId="c346c863-01be-4a71-ba36-8d40a81621a7" providerId="ADAL" clId="{22455410-1E34-41AE-817E-0F0AE0B3F8E3}" dt="2021-07-01T09:30:43.640" v="153" actId="478"/>
          <ac:spMkLst>
            <pc:docMk/>
            <pc:sldMk cId="3793478837" sldId="2147307519"/>
            <ac:spMk id="5" creationId="{54BEAF16-7425-4A52-B01C-17D0CE645902}"/>
          </ac:spMkLst>
        </pc:spChg>
        <pc:spChg chg="add del mod">
          <ac:chgData name="Bharj, Kam" userId="c346c863-01be-4a71-ba36-8d40a81621a7" providerId="ADAL" clId="{22455410-1E34-41AE-817E-0F0AE0B3F8E3}" dt="2021-07-01T09:34:57.142" v="243" actId="478"/>
          <ac:spMkLst>
            <pc:docMk/>
            <pc:sldMk cId="3793478837" sldId="2147307519"/>
            <ac:spMk id="10" creationId="{09B6EE76-BC19-410C-B841-686A539FA3E3}"/>
          </ac:spMkLst>
        </pc:spChg>
        <pc:spChg chg="add mod">
          <ac:chgData name="Bharj, Kam" userId="c346c863-01be-4a71-ba36-8d40a81621a7" providerId="ADAL" clId="{22455410-1E34-41AE-817E-0F0AE0B3F8E3}" dt="2021-07-01T09:59:39.309" v="949" actId="1076"/>
          <ac:spMkLst>
            <pc:docMk/>
            <pc:sldMk cId="3793478837" sldId="2147307519"/>
            <ac:spMk id="11" creationId="{06B3647D-141D-49BD-8CF2-18B2BC553C24}"/>
          </ac:spMkLst>
        </pc:spChg>
        <pc:spChg chg="add del mod">
          <ac:chgData name="Bharj, Kam" userId="c346c863-01be-4a71-ba36-8d40a81621a7" providerId="ADAL" clId="{22455410-1E34-41AE-817E-0F0AE0B3F8E3}" dt="2021-07-01T09:59:39.309" v="949" actId="1076"/>
          <ac:spMkLst>
            <pc:docMk/>
            <pc:sldMk cId="3793478837" sldId="2147307519"/>
            <ac:spMk id="12" creationId="{9106E9BE-1F24-4DC9-9252-31F83CC12FE3}"/>
          </ac:spMkLst>
        </pc:spChg>
        <pc:spChg chg="add mod">
          <ac:chgData name="Bharj, Kam" userId="c346c863-01be-4a71-ba36-8d40a81621a7" providerId="ADAL" clId="{22455410-1E34-41AE-817E-0F0AE0B3F8E3}" dt="2021-07-02T12:47:55.544" v="1194" actId="1076"/>
          <ac:spMkLst>
            <pc:docMk/>
            <pc:sldMk cId="3793478837" sldId="2147307519"/>
            <ac:spMk id="13" creationId="{ECC04EF1-A636-4C05-BADD-3A854165B9E0}"/>
          </ac:spMkLst>
        </pc:spChg>
        <pc:spChg chg="add mod">
          <ac:chgData name="Bharj, Kam" userId="c346c863-01be-4a71-ba36-8d40a81621a7" providerId="ADAL" clId="{22455410-1E34-41AE-817E-0F0AE0B3F8E3}" dt="2021-07-02T12:47:44.791" v="1191" actId="14100"/>
          <ac:spMkLst>
            <pc:docMk/>
            <pc:sldMk cId="3793478837" sldId="2147307519"/>
            <ac:spMk id="14" creationId="{548379CD-9965-4015-859C-C7F47B6CDDB9}"/>
          </ac:spMkLst>
        </pc:spChg>
        <pc:spChg chg="add mod">
          <ac:chgData name="Bharj, Kam" userId="c346c863-01be-4a71-ba36-8d40a81621a7" providerId="ADAL" clId="{22455410-1E34-41AE-817E-0F0AE0B3F8E3}" dt="2021-07-02T12:47:49.310" v="1192" actId="14100"/>
          <ac:spMkLst>
            <pc:docMk/>
            <pc:sldMk cId="3793478837" sldId="2147307519"/>
            <ac:spMk id="15" creationId="{182C3905-2C84-4DEE-9BF4-063F1DBB5ED3}"/>
          </ac:spMkLst>
        </pc:spChg>
        <pc:picChg chg="add del mod">
          <ac:chgData name="Bharj, Kam" userId="c346c863-01be-4a71-ba36-8d40a81621a7" providerId="ADAL" clId="{22455410-1E34-41AE-817E-0F0AE0B3F8E3}" dt="2021-07-01T09:31:55.511" v="170" actId="478"/>
          <ac:picMkLst>
            <pc:docMk/>
            <pc:sldMk cId="3793478837" sldId="2147307519"/>
            <ac:picMk id="7" creationId="{2829B95C-9B4E-401B-942F-C2385FB71A26}"/>
          </ac:picMkLst>
        </pc:picChg>
        <pc:picChg chg="add mod modCrop">
          <ac:chgData name="Bharj, Kam" userId="c346c863-01be-4a71-ba36-8d40a81621a7" providerId="ADAL" clId="{22455410-1E34-41AE-817E-0F0AE0B3F8E3}" dt="2021-07-01T09:59:39.309" v="949" actId="1076"/>
          <ac:picMkLst>
            <pc:docMk/>
            <pc:sldMk cId="3793478837" sldId="2147307519"/>
            <ac:picMk id="9" creationId="{E85C454F-0D2C-4CC6-ABBE-BD8FFD43EEA2}"/>
          </ac:picMkLst>
        </pc:picChg>
        <pc:picChg chg="add del mod">
          <ac:chgData name="Bharj, Kam" userId="c346c863-01be-4a71-ba36-8d40a81621a7" providerId="ADAL" clId="{22455410-1E34-41AE-817E-0F0AE0B3F8E3}" dt="2021-07-01T10:03:13.447" v="1015"/>
          <ac:picMkLst>
            <pc:docMk/>
            <pc:sldMk cId="3793478837" sldId="2147307519"/>
            <ac:picMk id="16" creationId="{AE6BDA9F-BF7B-43D9-85AA-D6B22FFDB0F4}"/>
          </ac:picMkLst>
        </pc:picChg>
        <pc:picChg chg="add del mod">
          <ac:chgData name="Bharj, Kam" userId="c346c863-01be-4a71-ba36-8d40a81621a7" providerId="ADAL" clId="{22455410-1E34-41AE-817E-0F0AE0B3F8E3}" dt="2021-07-01T10:04:34.260" v="1030"/>
          <ac:picMkLst>
            <pc:docMk/>
            <pc:sldMk cId="3793478837" sldId="2147307519"/>
            <ac:picMk id="18" creationId="{26C5F22F-9365-475A-98D8-F7AD998660B8}"/>
          </ac:picMkLst>
        </pc:picChg>
        <pc:picChg chg="add del">
          <ac:chgData name="Bharj, Kam" userId="c346c863-01be-4a71-ba36-8d40a81621a7" providerId="ADAL" clId="{22455410-1E34-41AE-817E-0F0AE0B3F8E3}" dt="2021-07-01T10:04:30.233" v="1028"/>
          <ac:picMkLst>
            <pc:docMk/>
            <pc:sldMk cId="3793478837" sldId="2147307519"/>
            <ac:picMk id="19" creationId="{FE4F6926-1208-4806-8EE9-BCEA1A6C5F16}"/>
          </ac:picMkLst>
        </pc:picChg>
      </pc:sldChg>
      <pc:sldChg chg="addSp delSp">
        <pc:chgData name="Bharj, Kam" userId="c346c863-01be-4a71-ba36-8d40a81621a7" providerId="ADAL" clId="{22455410-1E34-41AE-817E-0F0AE0B3F8E3}" dt="2021-07-06T16:43:34.903" v="5229"/>
        <pc:sldMkLst>
          <pc:docMk/>
          <pc:sldMk cId="54558304" sldId="2147307520"/>
        </pc:sldMkLst>
        <pc:spChg chg="del">
          <ac:chgData name="Bharj, Kam" userId="c346c863-01be-4a71-ba36-8d40a81621a7" providerId="ADAL" clId="{22455410-1E34-41AE-817E-0F0AE0B3F8E3}" dt="2021-07-06T16:42:37.915" v="5195" actId="478"/>
          <ac:spMkLst>
            <pc:docMk/>
            <pc:sldMk cId="54558304" sldId="2147307520"/>
            <ac:spMk id="4" creationId="{BABA6168-D1E7-4454-A003-638EC8F388DB}"/>
          </ac:spMkLst>
        </pc:spChg>
        <pc:spChg chg="add">
          <ac:chgData name="Bharj, Kam" userId="c346c863-01be-4a71-ba36-8d40a81621a7" providerId="ADAL" clId="{22455410-1E34-41AE-817E-0F0AE0B3F8E3}" dt="2021-07-06T16:43:34.903" v="5229"/>
          <ac:spMkLst>
            <pc:docMk/>
            <pc:sldMk cId="54558304" sldId="2147307520"/>
            <ac:spMk id="17" creationId="{1991F005-68A4-4461-B80E-93E5952115A4}"/>
          </ac:spMkLst>
        </pc:spChg>
      </pc:sldChg>
      <pc:sldChg chg="addSp delSp modSp add del ord">
        <pc:chgData name="Bharj, Kam" userId="c346c863-01be-4a71-ba36-8d40a81621a7" providerId="ADAL" clId="{22455410-1E34-41AE-817E-0F0AE0B3F8E3}" dt="2021-07-06T16:38:13.502" v="5194" actId="2696"/>
        <pc:sldMkLst>
          <pc:docMk/>
          <pc:sldMk cId="3687920276" sldId="2147307521"/>
        </pc:sldMkLst>
        <pc:spChg chg="mod">
          <ac:chgData name="Bharj, Kam" userId="c346c863-01be-4a71-ba36-8d40a81621a7" providerId="ADAL" clId="{22455410-1E34-41AE-817E-0F0AE0B3F8E3}" dt="2021-07-01T10:20:53.896" v="1109" actId="20577"/>
          <ac:spMkLst>
            <pc:docMk/>
            <pc:sldMk cId="3687920276" sldId="2147307521"/>
            <ac:spMk id="3" creationId="{D5CB5F05-37CB-42CE-A58F-294EA3E94A93}"/>
          </ac:spMkLst>
        </pc:spChg>
        <pc:spChg chg="mod">
          <ac:chgData name="Bharj, Kam" userId="c346c863-01be-4a71-ba36-8d40a81621a7" providerId="ADAL" clId="{22455410-1E34-41AE-817E-0F0AE0B3F8E3}" dt="2021-07-01T12:33:22.657" v="1169" actId="20577"/>
          <ac:spMkLst>
            <pc:docMk/>
            <pc:sldMk cId="3687920276" sldId="2147307521"/>
            <ac:spMk id="11" creationId="{06B3647D-141D-49BD-8CF2-18B2BC553C24}"/>
          </ac:spMkLst>
        </pc:spChg>
        <pc:spChg chg="mod">
          <ac:chgData name="Bharj, Kam" userId="c346c863-01be-4a71-ba36-8d40a81621a7" providerId="ADAL" clId="{22455410-1E34-41AE-817E-0F0AE0B3F8E3}" dt="2021-07-01T10:05:01.036" v="1035" actId="1076"/>
          <ac:spMkLst>
            <pc:docMk/>
            <pc:sldMk cId="3687920276" sldId="2147307521"/>
            <ac:spMk id="12" creationId="{9106E9BE-1F24-4DC9-9252-31F83CC12FE3}"/>
          </ac:spMkLst>
        </pc:spChg>
        <pc:spChg chg="mod">
          <ac:chgData name="Bharj, Kam" userId="c346c863-01be-4a71-ba36-8d40a81621a7" providerId="ADAL" clId="{22455410-1E34-41AE-817E-0F0AE0B3F8E3}" dt="2021-07-01T10:06:06.570" v="1085" actId="20577"/>
          <ac:spMkLst>
            <pc:docMk/>
            <pc:sldMk cId="3687920276" sldId="2147307521"/>
            <ac:spMk id="14" creationId="{548379CD-9965-4015-859C-C7F47B6CDDB9}"/>
          </ac:spMkLst>
        </pc:spChg>
        <pc:spChg chg="mod">
          <ac:chgData name="Bharj, Kam" userId="c346c863-01be-4a71-ba36-8d40a81621a7" providerId="ADAL" clId="{22455410-1E34-41AE-817E-0F0AE0B3F8E3}" dt="2021-07-01T10:05:20.223" v="1039" actId="14100"/>
          <ac:spMkLst>
            <pc:docMk/>
            <pc:sldMk cId="3687920276" sldId="2147307521"/>
            <ac:spMk id="15" creationId="{182C3905-2C84-4DEE-9BF4-063F1DBB5ED3}"/>
          </ac:spMkLst>
        </pc:spChg>
        <pc:picChg chg="add del mod">
          <ac:chgData name="Bharj, Kam" userId="c346c863-01be-4a71-ba36-8d40a81621a7" providerId="ADAL" clId="{22455410-1E34-41AE-817E-0F0AE0B3F8E3}" dt="2021-07-01T10:02:56.856" v="1010"/>
          <ac:picMkLst>
            <pc:docMk/>
            <pc:sldMk cId="3687920276" sldId="2147307521"/>
            <ac:picMk id="4" creationId="{48664DE5-27FF-4A52-8C93-BAEC86DCAEEF}"/>
          </ac:picMkLst>
        </pc:picChg>
        <pc:picChg chg="del">
          <ac:chgData name="Bharj, Kam" userId="c346c863-01be-4a71-ba36-8d40a81621a7" providerId="ADAL" clId="{22455410-1E34-41AE-817E-0F0AE0B3F8E3}" dt="2021-07-01T10:02:18.690" v="1002" actId="478"/>
          <ac:picMkLst>
            <pc:docMk/>
            <pc:sldMk cId="3687920276" sldId="2147307521"/>
            <ac:picMk id="9" creationId="{E85C454F-0D2C-4CC6-ABBE-BD8FFD43EEA2}"/>
          </ac:picMkLst>
        </pc:picChg>
        <pc:picChg chg="add del ord">
          <ac:chgData name="Bharj, Kam" userId="c346c863-01be-4a71-ba36-8d40a81621a7" providerId="ADAL" clId="{22455410-1E34-41AE-817E-0F0AE0B3F8E3}" dt="2021-07-01T10:03:23.708" v="1018" actId="478"/>
          <ac:picMkLst>
            <pc:docMk/>
            <pc:sldMk cId="3687920276" sldId="2147307521"/>
            <ac:picMk id="16" creationId="{18B99CE6-BD73-4E28-8F0D-ED198A6BB540}"/>
          </ac:picMkLst>
        </pc:picChg>
        <pc:picChg chg="add mod ord">
          <ac:chgData name="Bharj, Kam" userId="c346c863-01be-4a71-ba36-8d40a81621a7" providerId="ADAL" clId="{22455410-1E34-41AE-817E-0F0AE0B3F8E3}" dt="2021-07-01T10:04:56.569" v="1034" actId="167"/>
          <ac:picMkLst>
            <pc:docMk/>
            <pc:sldMk cId="3687920276" sldId="2147307521"/>
            <ac:picMk id="17" creationId="{44BB94DE-CFD4-4CC2-A6CD-F5737469748B}"/>
          </ac:picMkLst>
        </pc:picChg>
      </pc:sldChg>
      <pc:sldChg chg="addSp delSp modSp">
        <pc:chgData name="Bharj, Kam" userId="c346c863-01be-4a71-ba36-8d40a81621a7" providerId="ADAL" clId="{22455410-1E34-41AE-817E-0F0AE0B3F8E3}" dt="2021-07-06T16:47:23.286" v="5244" actId="255"/>
        <pc:sldMkLst>
          <pc:docMk/>
          <pc:sldMk cId="4135496317" sldId="2147307523"/>
        </pc:sldMkLst>
        <pc:spChg chg="add del mod">
          <ac:chgData name="Bharj, Kam" userId="c346c863-01be-4a71-ba36-8d40a81621a7" providerId="ADAL" clId="{22455410-1E34-41AE-817E-0F0AE0B3F8E3}" dt="2021-07-04T19:40:14.763" v="2250" actId="478"/>
          <ac:spMkLst>
            <pc:docMk/>
            <pc:sldMk cId="4135496317" sldId="2147307523"/>
            <ac:spMk id="3" creationId="{AA026472-6407-4858-A30C-56D4CFBFD2A7}"/>
          </ac:spMkLst>
        </pc:spChg>
        <pc:spChg chg="del">
          <ac:chgData name="Bharj, Kam" userId="c346c863-01be-4a71-ba36-8d40a81621a7" providerId="ADAL" clId="{22455410-1E34-41AE-817E-0F0AE0B3F8E3}" dt="2021-07-06T13:16:48.966" v="4319" actId="478"/>
          <ac:spMkLst>
            <pc:docMk/>
            <pc:sldMk cId="4135496317" sldId="2147307523"/>
            <ac:spMk id="4" creationId="{03122E7F-207C-4275-A57F-5C006B6E9A74}"/>
          </ac:spMkLst>
        </pc:spChg>
        <pc:spChg chg="del">
          <ac:chgData name="Bharj, Kam" userId="c346c863-01be-4a71-ba36-8d40a81621a7" providerId="ADAL" clId="{22455410-1E34-41AE-817E-0F0AE0B3F8E3}" dt="2021-07-06T16:43:18.612" v="5219" actId="478"/>
          <ac:spMkLst>
            <pc:docMk/>
            <pc:sldMk cId="4135496317" sldId="2147307523"/>
            <ac:spMk id="5" creationId="{CB0BEF5E-D506-4870-8820-E47362931007}"/>
          </ac:spMkLst>
        </pc:spChg>
        <pc:spChg chg="mod">
          <ac:chgData name="Bharj, Kam" userId="c346c863-01be-4a71-ba36-8d40a81621a7" providerId="ADAL" clId="{22455410-1E34-41AE-817E-0F0AE0B3F8E3}" dt="2021-07-06T15:20:39.496" v="4380" actId="1076"/>
          <ac:spMkLst>
            <pc:docMk/>
            <pc:sldMk cId="4135496317" sldId="2147307523"/>
            <ac:spMk id="6" creationId="{A8827986-86D2-4F53-9F9A-1FE20F032AB0}"/>
          </ac:spMkLst>
        </pc:spChg>
        <pc:spChg chg="add mod topLvl">
          <ac:chgData name="Bharj, Kam" userId="c346c863-01be-4a71-ba36-8d40a81621a7" providerId="ADAL" clId="{22455410-1E34-41AE-817E-0F0AE0B3F8E3}" dt="2021-07-06T16:47:23.286" v="5244" actId="255"/>
          <ac:spMkLst>
            <pc:docMk/>
            <pc:sldMk cId="4135496317" sldId="2147307523"/>
            <ac:spMk id="7" creationId="{B81D1DD6-C411-4C17-91D7-583D53814FC5}"/>
          </ac:spMkLst>
        </pc:spChg>
        <pc:spChg chg="add mod topLvl">
          <ac:chgData name="Bharj, Kam" userId="c346c863-01be-4a71-ba36-8d40a81621a7" providerId="ADAL" clId="{22455410-1E34-41AE-817E-0F0AE0B3F8E3}" dt="2021-07-06T16:47:16.679" v="5243" actId="255"/>
          <ac:spMkLst>
            <pc:docMk/>
            <pc:sldMk cId="4135496317" sldId="2147307523"/>
            <ac:spMk id="11" creationId="{A31A092B-8474-44FA-B302-17B841CAC2E3}"/>
          </ac:spMkLst>
        </pc:spChg>
        <pc:spChg chg="add del mod topLvl">
          <ac:chgData name="Bharj, Kam" userId="c346c863-01be-4a71-ba36-8d40a81621a7" providerId="ADAL" clId="{22455410-1E34-41AE-817E-0F0AE0B3F8E3}" dt="2021-07-06T15:46:30.148" v="4617" actId="478"/>
          <ac:spMkLst>
            <pc:docMk/>
            <pc:sldMk cId="4135496317" sldId="2147307523"/>
            <ac:spMk id="12" creationId="{E0FAB339-2234-4477-A854-E6248C3F98DD}"/>
          </ac:spMkLst>
        </pc:spChg>
        <pc:spChg chg="add mod topLvl">
          <ac:chgData name="Bharj, Kam" userId="c346c863-01be-4a71-ba36-8d40a81621a7" providerId="ADAL" clId="{22455410-1E34-41AE-817E-0F0AE0B3F8E3}" dt="2021-07-04T20:25:46.158" v="2883" actId="164"/>
          <ac:spMkLst>
            <pc:docMk/>
            <pc:sldMk cId="4135496317" sldId="2147307523"/>
            <ac:spMk id="14" creationId="{2D58482B-4A81-4E34-BCAE-B57A1B5D6448}"/>
          </ac:spMkLst>
        </pc:spChg>
        <pc:spChg chg="add mod topLvl">
          <ac:chgData name="Bharj, Kam" userId="c346c863-01be-4a71-ba36-8d40a81621a7" providerId="ADAL" clId="{22455410-1E34-41AE-817E-0F0AE0B3F8E3}" dt="2021-07-04T20:25:46.158" v="2883" actId="164"/>
          <ac:spMkLst>
            <pc:docMk/>
            <pc:sldMk cId="4135496317" sldId="2147307523"/>
            <ac:spMk id="16" creationId="{FA97D08C-9744-49E5-A4EB-C6C631F8D1DD}"/>
          </ac:spMkLst>
        </pc:spChg>
        <pc:spChg chg="add mod topLvl">
          <ac:chgData name="Bharj, Kam" userId="c346c863-01be-4a71-ba36-8d40a81621a7" providerId="ADAL" clId="{22455410-1E34-41AE-817E-0F0AE0B3F8E3}" dt="2021-07-04T20:25:46.158" v="2883" actId="164"/>
          <ac:spMkLst>
            <pc:docMk/>
            <pc:sldMk cId="4135496317" sldId="2147307523"/>
            <ac:spMk id="18" creationId="{3F0161EC-E41B-401D-8238-DFE9CDF9FE2B}"/>
          </ac:spMkLst>
        </pc:spChg>
        <pc:spChg chg="add mod">
          <ac:chgData name="Bharj, Kam" userId="c346c863-01be-4a71-ba36-8d40a81621a7" providerId="ADAL" clId="{22455410-1E34-41AE-817E-0F0AE0B3F8E3}" dt="2021-07-06T16:32:48.767" v="5188" actId="1076"/>
          <ac:spMkLst>
            <pc:docMk/>
            <pc:sldMk cId="4135496317" sldId="2147307523"/>
            <ac:spMk id="21" creationId="{47B18296-2C0C-4BC1-A681-8442B8EFDD64}"/>
          </ac:spMkLst>
        </pc:spChg>
        <pc:spChg chg="mod">
          <ac:chgData name="Bharj, Kam" userId="c346c863-01be-4a71-ba36-8d40a81621a7" providerId="ADAL" clId="{22455410-1E34-41AE-817E-0F0AE0B3F8E3}" dt="2021-07-06T16:33:36.173" v="5189" actId="14100"/>
          <ac:spMkLst>
            <pc:docMk/>
            <pc:sldMk cId="4135496317" sldId="2147307523"/>
            <ac:spMk id="50" creationId="{887FB771-193A-4AE1-B36C-619F347E44CD}"/>
          </ac:spMkLst>
        </pc:spChg>
        <pc:spChg chg="add mod">
          <ac:chgData name="Bharj, Kam" userId="c346c863-01be-4a71-ba36-8d40a81621a7" providerId="ADAL" clId="{22455410-1E34-41AE-817E-0F0AE0B3F8E3}" dt="2021-07-06T15:43:56.709" v="4544" actId="20577"/>
          <ac:spMkLst>
            <pc:docMk/>
            <pc:sldMk cId="4135496317" sldId="2147307523"/>
            <ac:spMk id="64" creationId="{49EBA943-3619-485D-8842-454C6B01F656}"/>
          </ac:spMkLst>
        </pc:spChg>
        <pc:spChg chg="add mod">
          <ac:chgData name="Bharj, Kam" userId="c346c863-01be-4a71-ba36-8d40a81621a7" providerId="ADAL" clId="{22455410-1E34-41AE-817E-0F0AE0B3F8E3}" dt="2021-07-06T15:46:34.167" v="4619" actId="1076"/>
          <ac:spMkLst>
            <pc:docMk/>
            <pc:sldMk cId="4135496317" sldId="2147307523"/>
            <ac:spMk id="65" creationId="{0D141F1D-6C38-4728-88F6-C65105D562ED}"/>
          </ac:spMkLst>
        </pc:spChg>
        <pc:spChg chg="add">
          <ac:chgData name="Bharj, Kam" userId="c346c863-01be-4a71-ba36-8d40a81621a7" providerId="ADAL" clId="{22455410-1E34-41AE-817E-0F0AE0B3F8E3}" dt="2021-07-06T16:43:18.827" v="5220"/>
          <ac:spMkLst>
            <pc:docMk/>
            <pc:sldMk cId="4135496317" sldId="2147307523"/>
            <ac:spMk id="71" creationId="{AC6C5FF9-0ABA-4552-B952-C6282F1E6267}"/>
          </ac:spMkLst>
        </pc:spChg>
        <pc:spChg chg="add del mod">
          <ac:chgData name="Bharj, Kam" userId="c346c863-01be-4a71-ba36-8d40a81621a7" providerId="ADAL" clId="{22455410-1E34-41AE-817E-0F0AE0B3F8E3}" dt="2021-07-04T20:16:43.751" v="2678"/>
          <ac:spMkLst>
            <pc:docMk/>
            <pc:sldMk cId="4135496317" sldId="2147307523"/>
            <ac:spMk id="153" creationId="{8C460168-0CE6-4736-B018-9120A670CFD6}"/>
          </ac:spMkLst>
        </pc:spChg>
        <pc:spChg chg="add mod">
          <ac:chgData name="Bharj, Kam" userId="c346c863-01be-4a71-ba36-8d40a81621a7" providerId="ADAL" clId="{22455410-1E34-41AE-817E-0F0AE0B3F8E3}" dt="2021-07-04T20:29:21.593" v="2918" actId="313"/>
          <ac:spMkLst>
            <pc:docMk/>
            <pc:sldMk cId="4135496317" sldId="2147307523"/>
            <ac:spMk id="156" creationId="{5F98C2B9-4933-4A9F-AF14-2A042DAF916C}"/>
          </ac:spMkLst>
        </pc:spChg>
        <pc:spChg chg="add mod">
          <ac:chgData name="Bharj, Kam" userId="c346c863-01be-4a71-ba36-8d40a81621a7" providerId="ADAL" clId="{22455410-1E34-41AE-817E-0F0AE0B3F8E3}" dt="2021-07-04T20:25:46.158" v="2883" actId="164"/>
          <ac:spMkLst>
            <pc:docMk/>
            <pc:sldMk cId="4135496317" sldId="2147307523"/>
            <ac:spMk id="157" creationId="{4D989F79-00DF-4B6A-8324-EC1775EB9DC5}"/>
          </ac:spMkLst>
        </pc:spChg>
        <pc:spChg chg="add mod">
          <ac:chgData name="Bharj, Kam" userId="c346c863-01be-4a71-ba36-8d40a81621a7" providerId="ADAL" clId="{22455410-1E34-41AE-817E-0F0AE0B3F8E3}" dt="2021-07-06T15:20:38.071" v="4379" actId="20577"/>
          <ac:spMkLst>
            <pc:docMk/>
            <pc:sldMk cId="4135496317" sldId="2147307523"/>
            <ac:spMk id="158" creationId="{98E1A3DB-0CF1-47BC-8AB2-ACBC788E1AAC}"/>
          </ac:spMkLst>
        </pc:spChg>
        <pc:spChg chg="add mod">
          <ac:chgData name="Bharj, Kam" userId="c346c863-01be-4a71-ba36-8d40a81621a7" providerId="ADAL" clId="{22455410-1E34-41AE-817E-0F0AE0B3F8E3}" dt="2021-07-04T20:25:53.725" v="2884" actId="164"/>
          <ac:spMkLst>
            <pc:docMk/>
            <pc:sldMk cId="4135496317" sldId="2147307523"/>
            <ac:spMk id="159" creationId="{B14D5FA7-CD67-4AD6-B3ED-4897D7BD0C5F}"/>
          </ac:spMkLst>
        </pc:spChg>
        <pc:grpChg chg="add del mod">
          <ac:chgData name="Bharj, Kam" userId="c346c863-01be-4a71-ba36-8d40a81621a7" providerId="ADAL" clId="{22455410-1E34-41AE-817E-0F0AE0B3F8E3}" dt="2021-07-04T20:21:25.164" v="2788" actId="165"/>
          <ac:grpSpMkLst>
            <pc:docMk/>
            <pc:sldMk cId="4135496317" sldId="2147307523"/>
            <ac:grpSpMk id="152" creationId="{5DD270AC-E3BE-4AD4-8931-A2F3CC745417}"/>
          </ac:grpSpMkLst>
        </pc:grpChg>
        <pc:grpChg chg="add mod">
          <ac:chgData name="Bharj, Kam" userId="c346c863-01be-4a71-ba36-8d40a81621a7" providerId="ADAL" clId="{22455410-1E34-41AE-817E-0F0AE0B3F8E3}" dt="2021-07-06T16:44:08.109" v="5241" actId="14100"/>
          <ac:grpSpMkLst>
            <pc:docMk/>
            <pc:sldMk cId="4135496317" sldId="2147307523"/>
            <ac:grpSpMk id="178" creationId="{4EBBA0D8-7FD3-446B-B193-093340CF3635}"/>
          </ac:grpSpMkLst>
        </pc:grpChg>
        <pc:grpChg chg="add mod">
          <ac:chgData name="Bharj, Kam" userId="c346c863-01be-4a71-ba36-8d40a81621a7" providerId="ADAL" clId="{22455410-1E34-41AE-817E-0F0AE0B3F8E3}" dt="2021-07-04T20:25:53.725" v="2884" actId="164"/>
          <ac:grpSpMkLst>
            <pc:docMk/>
            <pc:sldMk cId="4135496317" sldId="2147307523"/>
            <ac:grpSpMk id="179" creationId="{5DDFDE56-145B-49B6-8580-7C48EE1237C4}"/>
          </ac:grpSpMkLst>
        </pc:grpChg>
        <pc:picChg chg="mod">
          <ac:chgData name="Bharj, Kam" userId="c346c863-01be-4a71-ba36-8d40a81621a7" providerId="ADAL" clId="{22455410-1E34-41AE-817E-0F0AE0B3F8E3}" dt="2021-07-06T16:12:39.123" v="5097" actId="1076"/>
          <ac:picMkLst>
            <pc:docMk/>
            <pc:sldMk cId="4135496317" sldId="2147307523"/>
            <ac:picMk id="4" creationId="{E058C0FC-F842-481D-A3C6-0178061B6838}"/>
          </ac:picMkLst>
        </pc:picChg>
        <pc:picChg chg="mod">
          <ac:chgData name="Bharj, Kam" userId="c346c863-01be-4a71-ba36-8d40a81621a7" providerId="ADAL" clId="{22455410-1E34-41AE-817E-0F0AE0B3F8E3}" dt="2021-07-04T20:25:53.725" v="2884" actId="164"/>
          <ac:picMkLst>
            <pc:docMk/>
            <pc:sldMk cId="4135496317" sldId="2147307523"/>
            <ac:picMk id="8" creationId="{4174DDB8-0430-47E8-BC7B-BF1C06F72B49}"/>
          </ac:picMkLst>
        </pc:picChg>
        <pc:picChg chg="mod">
          <ac:chgData name="Bharj, Kam" userId="c346c863-01be-4a71-ba36-8d40a81621a7" providerId="ADAL" clId="{22455410-1E34-41AE-817E-0F0AE0B3F8E3}" dt="2021-07-04T19:58:42.219" v="2260" actId="1076"/>
          <ac:picMkLst>
            <pc:docMk/>
            <pc:sldMk cId="4135496317" sldId="2147307523"/>
            <ac:picMk id="10" creationId="{69A325A6-1043-43C8-9D7F-784F5EE59635}"/>
          </ac:picMkLst>
        </pc:picChg>
        <pc:picChg chg="add mo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13" creationId="{B10EB891-95D6-4D93-92C0-783FF4218BCC}"/>
          </ac:picMkLst>
        </pc:picChg>
        <pc:picChg chg="add mo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15" creationId="{37F14CBE-6142-4383-9885-4B764EAB81C1}"/>
          </ac:picMkLst>
        </pc:picChg>
        <pc:picChg chg="add mo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17" creationId="{95E33A98-911F-4E86-9560-82FF2CCE0046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20" creationId="{EF3FE2D7-DDD5-48DB-BDCA-E20FE6127BD9}"/>
          </ac:picMkLst>
        </pc:picChg>
        <pc:picChg chg="add mod ord topLvl">
          <ac:chgData name="Bharj, Kam" userId="c346c863-01be-4a71-ba36-8d40a81621a7" providerId="ADAL" clId="{22455410-1E34-41AE-817E-0F0AE0B3F8E3}" dt="2021-07-06T15:43:27.288" v="4531" actId="1076"/>
          <ac:picMkLst>
            <pc:docMk/>
            <pc:sldMk cId="4135496317" sldId="2147307523"/>
            <ac:picMk id="22" creationId="{7DFEB34F-E7F9-4B1F-8FF9-F26386A65168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24" creationId="{5D39F020-9AD7-47C0-8A45-8B0AF5387F24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26" creationId="{8DBA4AF2-7F1B-4EC1-BD50-EDD6AB422AD8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28" creationId="{3489CF86-8A6C-4A8D-AEBB-386C04AF9990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0" creationId="{B28C9EE7-E1F9-4423-AE6C-26ABCF0FBCFD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1" creationId="{511157CD-C0A5-4379-8F39-1484F808CA64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2" creationId="{FBBBB2EC-B976-4A4D-BFA0-3F830B332579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3" creationId="{4C31B69E-DED8-4EB7-B15C-C289A8B3D05D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4" creationId="{74A55E36-7953-4B5D-9438-9BA3D943398D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5" creationId="{682F0EBD-EC5E-491F-B236-AC5799340637}"/>
          </ac:picMkLst>
        </pc:picChg>
        <pc:picChg chg="add mod ord topLvl">
          <ac:chgData name="Bharj, Kam" userId="c346c863-01be-4a71-ba36-8d40a81621a7" providerId="ADAL" clId="{22455410-1E34-41AE-817E-0F0AE0B3F8E3}" dt="2021-07-04T20:25:46.158" v="2883" actId="164"/>
          <ac:picMkLst>
            <pc:docMk/>
            <pc:sldMk cId="4135496317" sldId="2147307523"/>
            <ac:picMk id="36" creationId="{5849FCC3-DB68-4719-A1A7-965CAC381235}"/>
          </ac:picMkLst>
        </pc:pic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38" creationId="{7C0EB70B-6930-445F-B586-F5F1A5DC6067}"/>
          </ac:cxnSpMkLst>
        </pc:cxnChg>
        <pc:cxnChg chg="add mod topLvl">
          <ac:chgData name="Bharj, Kam" userId="c346c863-01be-4a71-ba36-8d40a81621a7" providerId="ADAL" clId="{22455410-1E34-41AE-817E-0F0AE0B3F8E3}" dt="2021-07-06T15:43:27.288" v="4531" actId="1076"/>
          <ac:cxnSpMkLst>
            <pc:docMk/>
            <pc:sldMk cId="4135496317" sldId="2147307523"/>
            <ac:cxnSpMk id="41" creationId="{9A978C3B-D061-40FB-8116-9403777E4EF6}"/>
          </ac:cxnSpMkLst>
        </pc:cxnChg>
        <pc:cxnChg chg="add mod topLvl">
          <ac:chgData name="Bharj, Kam" userId="c346c863-01be-4a71-ba36-8d40a81621a7" providerId="ADAL" clId="{22455410-1E34-41AE-817E-0F0AE0B3F8E3}" dt="2021-07-06T16:44:08.109" v="5241" actId="14100"/>
          <ac:cxnSpMkLst>
            <pc:docMk/>
            <pc:sldMk cId="4135496317" sldId="2147307523"/>
            <ac:cxnSpMk id="44" creationId="{9DB6647F-8EF8-4885-82D3-8576E4BF452F}"/>
          </ac:cxnSpMkLst>
        </pc:cxnChg>
        <pc:cxnChg chg="add mod topLvl">
          <ac:chgData name="Bharj, Kam" userId="c346c863-01be-4a71-ba36-8d40a81621a7" providerId="ADAL" clId="{22455410-1E34-41AE-817E-0F0AE0B3F8E3}" dt="2021-07-06T15:43:47.210" v="4535" actId="1076"/>
          <ac:cxnSpMkLst>
            <pc:docMk/>
            <pc:sldMk cId="4135496317" sldId="2147307523"/>
            <ac:cxnSpMk id="47" creationId="{726F6EF7-24EC-4713-83EA-E4A1BEAE7EB3}"/>
          </ac:cxnSpMkLst>
        </pc:cxnChg>
        <pc:cxnChg chg="add mod topLvl">
          <ac:chgData name="Bharj, Kam" userId="c346c863-01be-4a71-ba36-8d40a81621a7" providerId="ADAL" clId="{22455410-1E34-41AE-817E-0F0AE0B3F8E3}" dt="2021-07-06T15:43:30.767" v="4532" actId="14100"/>
          <ac:cxnSpMkLst>
            <pc:docMk/>
            <pc:sldMk cId="4135496317" sldId="2147307523"/>
            <ac:cxnSpMk id="51" creationId="{6A6830A9-E8C2-4AAA-84CF-42D7466D7971}"/>
          </ac:cxnSpMkLst>
        </pc:cxnChg>
        <pc:cxnChg chg="mod">
          <ac:chgData name="Bharj, Kam" userId="c346c863-01be-4a71-ba36-8d40a81621a7" providerId="ADAL" clId="{22455410-1E34-41AE-817E-0F0AE0B3F8E3}" dt="2021-07-06T16:44:04.068" v="5240" actId="14100"/>
          <ac:cxnSpMkLst>
            <pc:docMk/>
            <pc:sldMk cId="4135496317" sldId="2147307523"/>
            <ac:cxnSpMk id="53" creationId="{A2B14BC9-B13D-41BF-90A9-5AACC9FEFC70}"/>
          </ac:cxnSpMkLst>
        </pc:cxn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54" creationId="{99D8C763-55FD-4D01-AD8B-B337C25940B9}"/>
          </ac:cxnSpMkLst>
        </pc:cxn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57" creationId="{C4560087-C750-4BFC-BCDB-75D004E7EA8F}"/>
          </ac:cxnSpMkLst>
        </pc:cxn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60" creationId="{3EE15C2D-9AAF-47D9-8AC3-2459D84E63E3}"/>
          </ac:cxnSpMkLst>
        </pc:cxnChg>
        <pc:cxnChg chg="add mod topLvl">
          <ac:chgData name="Bharj, Kam" userId="c346c863-01be-4a71-ba36-8d40a81621a7" providerId="ADAL" clId="{22455410-1E34-41AE-817E-0F0AE0B3F8E3}" dt="2021-07-06T15:43:33.822" v="4533" actId="14100"/>
          <ac:cxnSpMkLst>
            <pc:docMk/>
            <pc:sldMk cId="4135496317" sldId="2147307523"/>
            <ac:cxnSpMk id="63" creationId="{85A3428F-302B-41C4-B1C3-9D6ADAB97124}"/>
          </ac:cxnSpMkLst>
        </pc:cxnChg>
        <pc:cxnChg chg="mod">
          <ac:chgData name="Bharj, Kam" userId="c346c863-01be-4a71-ba36-8d40a81621a7" providerId="ADAL" clId="{22455410-1E34-41AE-817E-0F0AE0B3F8E3}" dt="2021-07-06T16:44:11.544" v="5242" actId="14100"/>
          <ac:cxnSpMkLst>
            <pc:docMk/>
            <pc:sldMk cId="4135496317" sldId="2147307523"/>
            <ac:cxnSpMk id="68" creationId="{9A25CD39-87AA-441E-B22B-9440C87B3648}"/>
          </ac:cxnSpMkLst>
        </pc:cxn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138" creationId="{42F5D30E-B8B4-445A-941C-BB24B2AA4D38}"/>
          </ac:cxnSpMkLst>
        </pc:cxnChg>
        <pc:cxnChg chg="add mod topLvl">
          <ac:chgData name="Bharj, Kam" userId="c346c863-01be-4a71-ba36-8d40a81621a7" providerId="ADAL" clId="{22455410-1E34-41AE-817E-0F0AE0B3F8E3}" dt="2021-07-04T20:25:46.158" v="2883" actId="164"/>
          <ac:cxnSpMkLst>
            <pc:docMk/>
            <pc:sldMk cId="4135496317" sldId="2147307523"/>
            <ac:cxnSpMk id="141" creationId="{00F356F0-E54E-491F-B25B-412E81FF9365}"/>
          </ac:cxnSpMkLst>
        </pc:cxnChg>
        <pc:cxnChg chg="add mod topLvl">
          <ac:chgData name="Bharj, Kam" userId="c346c863-01be-4a71-ba36-8d40a81621a7" providerId="ADAL" clId="{22455410-1E34-41AE-817E-0F0AE0B3F8E3}" dt="2021-07-06T15:43:36.941" v="4534" actId="14100"/>
          <ac:cxnSpMkLst>
            <pc:docMk/>
            <pc:sldMk cId="4135496317" sldId="2147307523"/>
            <ac:cxnSpMk id="144" creationId="{AD9D06BB-772C-40B6-9234-A1BF1FEF1B05}"/>
          </ac:cxnSpMkLst>
        </pc:cxnChg>
        <pc:cxnChg chg="add mod topLvl">
          <ac:chgData name="Bharj, Kam" userId="c346c863-01be-4a71-ba36-8d40a81621a7" providerId="ADAL" clId="{22455410-1E34-41AE-817E-0F0AE0B3F8E3}" dt="2021-07-06T15:43:47.210" v="4535" actId="1076"/>
          <ac:cxnSpMkLst>
            <pc:docMk/>
            <pc:sldMk cId="4135496317" sldId="2147307523"/>
            <ac:cxnSpMk id="147" creationId="{3ACBC91E-D52E-4802-BD17-2A17E9256E2F}"/>
          </ac:cxnSpMkLst>
        </pc:cxnChg>
        <pc:cxnChg chg="add mod topLvl">
          <ac:chgData name="Bharj, Kam" userId="c346c863-01be-4a71-ba36-8d40a81621a7" providerId="ADAL" clId="{22455410-1E34-41AE-817E-0F0AE0B3F8E3}" dt="2021-07-06T15:44:02.192" v="4545" actId="14100"/>
          <ac:cxnSpMkLst>
            <pc:docMk/>
            <pc:sldMk cId="4135496317" sldId="2147307523"/>
            <ac:cxnSpMk id="149" creationId="{6E0D1F6B-61D0-41D0-A511-EFB8201843AB}"/>
          </ac:cxnSpMkLst>
        </pc:cxnChg>
      </pc:sldChg>
      <pc:sldChg chg="addSp delSp modSp">
        <pc:chgData name="Bharj, Kam" userId="c346c863-01be-4a71-ba36-8d40a81621a7" providerId="ADAL" clId="{22455410-1E34-41AE-817E-0F0AE0B3F8E3}" dt="2021-07-06T16:48:31.650" v="5263" actId="20577"/>
        <pc:sldMkLst>
          <pc:docMk/>
          <pc:sldMk cId="1208402770" sldId="2147307524"/>
        </pc:sldMkLst>
        <pc:spChg chg="del">
          <ac:chgData name="Bharj, Kam" userId="c346c863-01be-4a71-ba36-8d40a81621a7" providerId="ADAL" clId="{22455410-1E34-41AE-817E-0F0AE0B3F8E3}" dt="2021-07-02T13:09:42.093" v="1590" actId="478"/>
          <ac:spMkLst>
            <pc:docMk/>
            <pc:sldMk cId="1208402770" sldId="2147307524"/>
            <ac:spMk id="4" creationId="{03122E7F-207C-4275-A57F-5C006B6E9A74}"/>
          </ac:spMkLst>
        </pc:spChg>
        <pc:spChg chg="del">
          <ac:chgData name="Bharj, Kam" userId="c346c863-01be-4a71-ba36-8d40a81621a7" providerId="ADAL" clId="{22455410-1E34-41AE-817E-0F0AE0B3F8E3}" dt="2021-07-06T16:43:21.846" v="5221" actId="478"/>
          <ac:spMkLst>
            <pc:docMk/>
            <pc:sldMk cId="1208402770" sldId="2147307524"/>
            <ac:spMk id="5" creationId="{CB0BEF5E-D506-4870-8820-E47362931007}"/>
          </ac:spMkLst>
        </pc:spChg>
        <pc:spChg chg="mod">
          <ac:chgData name="Bharj, Kam" userId="c346c863-01be-4a71-ba36-8d40a81621a7" providerId="ADAL" clId="{22455410-1E34-41AE-817E-0F0AE0B3F8E3}" dt="2021-07-02T15:31:00.670" v="2094" actId="20577"/>
          <ac:spMkLst>
            <pc:docMk/>
            <pc:sldMk cId="1208402770" sldId="2147307524"/>
            <ac:spMk id="6" creationId="{60CF4344-82A4-4E47-96F9-6F7705507E24}"/>
          </ac:spMkLst>
        </pc:spChg>
        <pc:spChg chg="add mod">
          <ac:chgData name="Bharj, Kam" userId="c346c863-01be-4a71-ba36-8d40a81621a7" providerId="ADAL" clId="{22455410-1E34-41AE-817E-0F0AE0B3F8E3}" dt="2021-07-06T16:48:31.650" v="5263" actId="20577"/>
          <ac:spMkLst>
            <pc:docMk/>
            <pc:sldMk cId="1208402770" sldId="2147307524"/>
            <ac:spMk id="8" creationId="{651F3BC0-C5AF-42AB-B14D-820CB7F75E5E}"/>
          </ac:spMkLst>
        </pc:spChg>
        <pc:spChg chg="add del mod">
          <ac:chgData name="Bharj, Kam" userId="c346c863-01be-4a71-ba36-8d40a81621a7" providerId="ADAL" clId="{22455410-1E34-41AE-817E-0F0AE0B3F8E3}" dt="2021-07-02T12:58:10.550" v="1494" actId="478"/>
          <ac:spMkLst>
            <pc:docMk/>
            <pc:sldMk cId="1208402770" sldId="2147307524"/>
            <ac:spMk id="10" creationId="{96BF8221-A029-42C8-9E12-9702D422C7B5}"/>
          </ac:spMkLst>
        </pc:spChg>
        <pc:spChg chg="add del mod">
          <ac:chgData name="Bharj, Kam" userId="c346c863-01be-4a71-ba36-8d40a81621a7" providerId="ADAL" clId="{22455410-1E34-41AE-817E-0F0AE0B3F8E3}" dt="2021-07-04T20:45:04.356" v="3299" actId="478"/>
          <ac:spMkLst>
            <pc:docMk/>
            <pc:sldMk cId="1208402770" sldId="2147307524"/>
            <ac:spMk id="10" creationId="{A4D936BE-5D53-4647-8E19-C6F330CD06B1}"/>
          </ac:spMkLst>
        </pc:spChg>
        <pc:spChg chg="add del">
          <ac:chgData name="Bharj, Kam" userId="c346c863-01be-4a71-ba36-8d40a81621a7" providerId="ADAL" clId="{22455410-1E34-41AE-817E-0F0AE0B3F8E3}" dt="2021-07-02T12:58:13.561" v="1495" actId="478"/>
          <ac:spMkLst>
            <pc:docMk/>
            <pc:sldMk cId="1208402770" sldId="2147307524"/>
            <ac:spMk id="11" creationId="{82C25099-9AF2-4013-B93E-64D638691772}"/>
          </ac:spMkLst>
        </pc:spChg>
        <pc:spChg chg="add mod">
          <ac:chgData name="Bharj, Kam" userId="c346c863-01be-4a71-ba36-8d40a81621a7" providerId="ADAL" clId="{22455410-1E34-41AE-817E-0F0AE0B3F8E3}" dt="2021-07-04T20:45:12.309" v="3300" actId="255"/>
          <ac:spMkLst>
            <pc:docMk/>
            <pc:sldMk cId="1208402770" sldId="2147307524"/>
            <ac:spMk id="12" creationId="{DFB0C052-8E87-471F-B429-E6F232ACA2DE}"/>
          </ac:spMkLst>
        </pc:spChg>
        <pc:spChg chg="add del mod">
          <ac:chgData name="Bharj, Kam" userId="c346c863-01be-4a71-ba36-8d40a81621a7" providerId="ADAL" clId="{22455410-1E34-41AE-817E-0F0AE0B3F8E3}" dt="2021-07-02T13:00:41.484" v="1540" actId="478"/>
          <ac:spMkLst>
            <pc:docMk/>
            <pc:sldMk cId="1208402770" sldId="2147307524"/>
            <ac:spMk id="13" creationId="{0D39A2C5-523B-405C-9381-DE3A110AAFA2}"/>
          </ac:spMkLst>
        </pc:spChg>
        <pc:spChg chg="add">
          <ac:chgData name="Bharj, Kam" userId="c346c863-01be-4a71-ba36-8d40a81621a7" providerId="ADAL" clId="{22455410-1E34-41AE-817E-0F0AE0B3F8E3}" dt="2021-07-06T16:43:22.108" v="5222"/>
          <ac:spMkLst>
            <pc:docMk/>
            <pc:sldMk cId="1208402770" sldId="2147307524"/>
            <ac:spMk id="13" creationId="{5A8E194B-38B0-4881-9C75-BAAD46B86DF7}"/>
          </ac:spMkLst>
        </pc:spChg>
        <pc:picChg chg="add mod">
          <ac:chgData name="Bharj, Kam" userId="c346c863-01be-4a71-ba36-8d40a81621a7" providerId="ADAL" clId="{22455410-1E34-41AE-817E-0F0AE0B3F8E3}" dt="2021-07-02T13:06:08.141" v="1582" actId="14100"/>
          <ac:picMkLst>
            <pc:docMk/>
            <pc:sldMk cId="1208402770" sldId="2147307524"/>
            <ac:picMk id="7" creationId="{5A698004-932B-43D4-8E0D-8EBDA60D1E96}"/>
          </ac:picMkLst>
        </pc:picChg>
        <pc:picChg chg="add mod">
          <ac:chgData name="Bharj, Kam" userId="c346c863-01be-4a71-ba36-8d40a81621a7" providerId="ADAL" clId="{22455410-1E34-41AE-817E-0F0AE0B3F8E3}" dt="2021-07-02T13:06:35.957" v="1585" actId="14100"/>
          <ac:picMkLst>
            <pc:docMk/>
            <pc:sldMk cId="1208402770" sldId="2147307524"/>
            <ac:picMk id="9" creationId="{72BD1E73-7196-4515-92B4-422FB95CF660}"/>
          </ac:picMkLst>
        </pc:picChg>
        <pc:picChg chg="mod">
          <ac:chgData name="Bharj, Kam" userId="c346c863-01be-4a71-ba36-8d40a81621a7" providerId="ADAL" clId="{22455410-1E34-41AE-817E-0F0AE0B3F8E3}" dt="2021-07-04T20:26:07.429" v="2886" actId="1076"/>
          <ac:picMkLst>
            <pc:docMk/>
            <pc:sldMk cId="1208402770" sldId="2147307524"/>
            <ac:picMk id="14" creationId="{5AE67E4A-8E57-41A7-9043-C3AC5DB6C0E5}"/>
          </ac:picMkLst>
        </pc:picChg>
      </pc:sldChg>
      <pc:sldChg chg="addSp delSp modSp">
        <pc:chgData name="Bharj, Kam" userId="c346c863-01be-4a71-ba36-8d40a81621a7" providerId="ADAL" clId="{22455410-1E34-41AE-817E-0F0AE0B3F8E3}" dt="2021-07-06T16:43:25.658" v="5224"/>
        <pc:sldMkLst>
          <pc:docMk/>
          <pc:sldMk cId="824225204" sldId="2147307525"/>
        </pc:sldMkLst>
        <pc:spChg chg="del">
          <ac:chgData name="Bharj, Kam" userId="c346c863-01be-4a71-ba36-8d40a81621a7" providerId="ADAL" clId="{22455410-1E34-41AE-817E-0F0AE0B3F8E3}" dt="2021-07-06T16:43:24.948" v="5223" actId="478"/>
          <ac:spMkLst>
            <pc:docMk/>
            <pc:sldMk cId="824225204" sldId="2147307525"/>
            <ac:spMk id="5" creationId="{CB0BEF5E-D506-4870-8820-E47362931007}"/>
          </ac:spMkLst>
        </pc:spChg>
        <pc:spChg chg="mod">
          <ac:chgData name="Bharj, Kam" userId="c346c863-01be-4a71-ba36-8d40a81621a7" providerId="ADAL" clId="{22455410-1E34-41AE-817E-0F0AE0B3F8E3}" dt="2021-07-06T15:32:22.571" v="4496" actId="20577"/>
          <ac:spMkLst>
            <pc:docMk/>
            <pc:sldMk cId="824225204" sldId="2147307525"/>
            <ac:spMk id="64" creationId="{F74838DF-EF0E-45FE-BA65-251B804B309C}"/>
          </ac:spMkLst>
        </pc:spChg>
        <pc:spChg chg="add">
          <ac:chgData name="Bharj, Kam" userId="c346c863-01be-4a71-ba36-8d40a81621a7" providerId="ADAL" clId="{22455410-1E34-41AE-817E-0F0AE0B3F8E3}" dt="2021-07-06T16:43:25.658" v="5224"/>
          <ac:spMkLst>
            <pc:docMk/>
            <pc:sldMk cId="824225204" sldId="2147307525"/>
            <ac:spMk id="104" creationId="{236BA721-FD73-4684-8201-5D6FAD80EA81}"/>
          </ac:spMkLst>
        </pc:spChg>
        <pc:picChg chg="mod">
          <ac:chgData name="Bharj, Kam" userId="c346c863-01be-4a71-ba36-8d40a81621a7" providerId="ADAL" clId="{22455410-1E34-41AE-817E-0F0AE0B3F8E3}" dt="2021-07-02T15:15:30.369" v="1781" actId="1076"/>
          <ac:picMkLst>
            <pc:docMk/>
            <pc:sldMk cId="824225204" sldId="2147307525"/>
            <ac:picMk id="25" creationId="{EDA54ADD-94CF-41F8-A889-F399B5B20D20}"/>
          </ac:picMkLst>
        </pc:picChg>
      </pc:sldChg>
      <pc:sldChg chg="addSp delSp modSp add addCm delCm modCm">
        <pc:chgData name="Bharj, Kam" userId="c346c863-01be-4a71-ba36-8d40a81621a7" providerId="ADAL" clId="{22455410-1E34-41AE-817E-0F0AE0B3F8E3}" dt="2021-07-06T16:51:26.463" v="5278" actId="478"/>
        <pc:sldMkLst>
          <pc:docMk/>
          <pc:sldMk cId="127553332" sldId="2147307526"/>
        </pc:sldMkLst>
        <pc:spChg chg="mod">
          <ac:chgData name="Bharj, Kam" userId="c346c863-01be-4a71-ba36-8d40a81621a7" providerId="ADAL" clId="{22455410-1E34-41AE-817E-0F0AE0B3F8E3}" dt="2021-07-04T20:31:40.574" v="2954" actId="20577"/>
          <ac:spMkLst>
            <pc:docMk/>
            <pc:sldMk cId="127553332" sldId="2147307526"/>
            <ac:spMk id="2" creationId="{B595BFCB-E9C1-4307-B342-9F39692E355F}"/>
          </ac:spMkLst>
        </pc:spChg>
        <pc:spChg chg="add mod">
          <ac:chgData name="Bharj, Kam" userId="c346c863-01be-4a71-ba36-8d40a81621a7" providerId="ADAL" clId="{22455410-1E34-41AE-817E-0F0AE0B3F8E3}" dt="2021-07-04T20:45:35.092" v="3303" actId="164"/>
          <ac:spMkLst>
            <pc:docMk/>
            <pc:sldMk cId="127553332" sldId="2147307526"/>
            <ac:spMk id="3" creationId="{13511EC8-2AC3-49C3-A460-BD22D7D5F006}"/>
          </ac:spMkLst>
        </pc:spChg>
        <pc:spChg chg="del">
          <ac:chgData name="Bharj, Kam" userId="c346c863-01be-4a71-ba36-8d40a81621a7" providerId="ADAL" clId="{22455410-1E34-41AE-817E-0F0AE0B3F8E3}" dt="2021-07-06T16:43:28.587" v="5225" actId="478"/>
          <ac:spMkLst>
            <pc:docMk/>
            <pc:sldMk cId="127553332" sldId="2147307526"/>
            <ac:spMk id="5" creationId="{CB0BEF5E-D506-4870-8820-E47362931007}"/>
          </ac:spMkLst>
        </pc:spChg>
        <pc:spChg chg="mod">
          <ac:chgData name="Bharj, Kam" userId="c346c863-01be-4a71-ba36-8d40a81621a7" providerId="ADAL" clId="{22455410-1E34-41AE-817E-0F0AE0B3F8E3}" dt="2021-07-04T20:44:15.113" v="3297" actId="5793"/>
          <ac:spMkLst>
            <pc:docMk/>
            <pc:sldMk cId="127553332" sldId="2147307526"/>
            <ac:spMk id="6" creationId="{A8827986-86D2-4F53-9F9A-1FE20F032AB0}"/>
          </ac:spMkLst>
        </pc:spChg>
        <pc:spChg chg="mod topLvl">
          <ac:chgData name="Bharj, Kam" userId="c346c863-01be-4a71-ba36-8d40a81621a7" providerId="ADAL" clId="{22455410-1E34-41AE-817E-0F0AE0B3F8E3}" dt="2021-07-06T16:50:12.476" v="5264" actId="255"/>
          <ac:spMkLst>
            <pc:docMk/>
            <pc:sldMk cId="127553332" sldId="2147307526"/>
            <ac:spMk id="7" creationId="{B81D1DD6-C411-4C17-91D7-583D53814FC5}"/>
          </ac:spMkLst>
        </pc:spChg>
        <pc:spChg chg="del mod topLvl">
          <ac:chgData name="Bharj, Kam" userId="c346c863-01be-4a71-ba36-8d40a81621a7" providerId="ADAL" clId="{22455410-1E34-41AE-817E-0F0AE0B3F8E3}" dt="2021-07-06T15:39:46.254" v="4521" actId="478"/>
          <ac:spMkLst>
            <pc:docMk/>
            <pc:sldMk cId="127553332" sldId="2147307526"/>
            <ac:spMk id="11" creationId="{A31A092B-8474-44FA-B302-17B841CAC2E3}"/>
          </ac:spMkLst>
        </pc:spChg>
        <pc:spChg chg="del mod topLvl">
          <ac:chgData name="Bharj, Kam" userId="c346c863-01be-4a71-ba36-8d40a81621a7" providerId="ADAL" clId="{22455410-1E34-41AE-817E-0F0AE0B3F8E3}" dt="2021-07-06T16:24:42.212" v="5112" actId="478"/>
          <ac:spMkLst>
            <pc:docMk/>
            <pc:sldMk cId="127553332" sldId="2147307526"/>
            <ac:spMk id="12" creationId="{E0FAB339-2234-4477-A854-E6248C3F98DD}"/>
          </ac:spMkLst>
        </pc:spChg>
        <pc:spChg chg="mod topLvl">
          <ac:chgData name="Bharj, Kam" userId="c346c863-01be-4a71-ba36-8d40a81621a7" providerId="ADAL" clId="{22455410-1E34-41AE-817E-0F0AE0B3F8E3}" dt="2021-07-04T20:45:35.092" v="3303" actId="164"/>
          <ac:spMkLst>
            <pc:docMk/>
            <pc:sldMk cId="127553332" sldId="2147307526"/>
            <ac:spMk id="14" creationId="{2D58482B-4A81-4E34-BCAE-B57A1B5D6448}"/>
          </ac:spMkLst>
        </pc:spChg>
        <pc:spChg chg="mod topLvl">
          <ac:chgData name="Bharj, Kam" userId="c346c863-01be-4a71-ba36-8d40a81621a7" providerId="ADAL" clId="{22455410-1E34-41AE-817E-0F0AE0B3F8E3}" dt="2021-07-05T14:33:25.045" v="4277" actId="122"/>
          <ac:spMkLst>
            <pc:docMk/>
            <pc:sldMk cId="127553332" sldId="2147307526"/>
            <ac:spMk id="16" creationId="{FA97D08C-9744-49E5-A4EB-C6C631F8D1DD}"/>
          </ac:spMkLst>
        </pc:spChg>
        <pc:spChg chg="mod topLvl">
          <ac:chgData name="Bharj, Kam" userId="c346c863-01be-4a71-ba36-8d40a81621a7" providerId="ADAL" clId="{22455410-1E34-41AE-817E-0F0AE0B3F8E3}" dt="2021-07-04T20:45:35.092" v="3303" actId="164"/>
          <ac:spMkLst>
            <pc:docMk/>
            <pc:sldMk cId="127553332" sldId="2147307526"/>
            <ac:spMk id="18" creationId="{3F0161EC-E41B-401D-8238-DFE9CDF9FE2B}"/>
          </ac:spMkLst>
        </pc:spChg>
        <pc:spChg chg="add del mod">
          <ac:chgData name="Bharj, Kam" userId="c346c863-01be-4a71-ba36-8d40a81621a7" providerId="ADAL" clId="{22455410-1E34-41AE-817E-0F0AE0B3F8E3}" dt="2021-07-06T15:39:59.409" v="4524" actId="478"/>
          <ac:spMkLst>
            <pc:docMk/>
            <pc:sldMk cId="127553332" sldId="2147307526"/>
            <ac:spMk id="23" creationId="{BB9207F6-1F98-4A60-80B3-A600E0EDC332}"/>
          </ac:spMkLst>
        </pc:spChg>
        <pc:spChg chg="mod">
          <ac:chgData name="Bharj, Kam" userId="c346c863-01be-4a71-ba36-8d40a81621a7" providerId="ADAL" clId="{22455410-1E34-41AE-817E-0F0AE0B3F8E3}" dt="2021-07-06T11:57:47.731" v="4318" actId="1076"/>
          <ac:spMkLst>
            <pc:docMk/>
            <pc:sldMk cId="127553332" sldId="2147307526"/>
            <ac:spMk id="25" creationId="{DBF90DF7-3826-47CC-A7F8-09E55E9AF6F9}"/>
          </ac:spMkLst>
        </pc:spChg>
        <pc:spChg chg="add mod">
          <ac:chgData name="Bharj, Kam" userId="c346c863-01be-4a71-ba36-8d40a81621a7" providerId="ADAL" clId="{22455410-1E34-41AE-817E-0F0AE0B3F8E3}" dt="2021-07-06T11:57:41.387" v="4317" actId="1076"/>
          <ac:spMkLst>
            <pc:docMk/>
            <pc:sldMk cId="127553332" sldId="2147307526"/>
            <ac:spMk id="42" creationId="{4885A463-D082-4D24-8EF6-0DAED8EB2A7C}"/>
          </ac:spMkLst>
        </pc:spChg>
        <pc:spChg chg="del mod">
          <ac:chgData name="Bharj, Kam" userId="c346c863-01be-4a71-ba36-8d40a81621a7" providerId="ADAL" clId="{22455410-1E34-41AE-817E-0F0AE0B3F8E3}" dt="2021-07-06T16:24:36.739" v="5110" actId="478"/>
          <ac:spMkLst>
            <pc:docMk/>
            <pc:sldMk cId="127553332" sldId="2147307526"/>
            <ac:spMk id="46" creationId="{8BBC76B2-1B02-4B92-A667-D03D7BC3C18B}"/>
          </ac:spMkLst>
        </pc:spChg>
        <pc:spChg chg="mod">
          <ac:chgData name="Bharj, Kam" userId="c346c863-01be-4a71-ba36-8d40a81621a7" providerId="ADAL" clId="{22455410-1E34-41AE-817E-0F0AE0B3F8E3}" dt="2021-07-05T14:36:46.265" v="4315" actId="20577"/>
          <ac:spMkLst>
            <pc:docMk/>
            <pc:sldMk cId="127553332" sldId="2147307526"/>
            <ac:spMk id="48" creationId="{28391F68-6387-4DCD-B28C-C66AC17B59E1}"/>
          </ac:spMkLst>
        </pc:spChg>
        <pc:spChg chg="add mod">
          <ac:chgData name="Bharj, Kam" userId="c346c863-01be-4a71-ba36-8d40a81621a7" providerId="ADAL" clId="{22455410-1E34-41AE-817E-0F0AE0B3F8E3}" dt="2021-07-06T16:50:36.952" v="5267" actId="255"/>
          <ac:spMkLst>
            <pc:docMk/>
            <pc:sldMk cId="127553332" sldId="2147307526"/>
            <ac:spMk id="50" creationId="{1719E35C-3C5E-498D-BFF1-C0D9604E52C1}"/>
          </ac:spMkLst>
        </pc:spChg>
        <pc:spChg chg="add mod">
          <ac:chgData name="Bharj, Kam" userId="c346c863-01be-4a71-ba36-8d40a81621a7" providerId="ADAL" clId="{22455410-1E34-41AE-817E-0F0AE0B3F8E3}" dt="2021-07-05T14:11:07.650" v="4176" actId="1076"/>
          <ac:spMkLst>
            <pc:docMk/>
            <pc:sldMk cId="127553332" sldId="2147307526"/>
            <ac:spMk id="52" creationId="{53BECFD7-BE99-4BE0-AED7-A8F7EA690E32}"/>
          </ac:spMkLst>
        </pc:spChg>
        <pc:spChg chg="add del mod">
          <ac:chgData name="Bharj, Kam" userId="c346c863-01be-4a71-ba36-8d40a81621a7" providerId="ADAL" clId="{22455410-1E34-41AE-817E-0F0AE0B3F8E3}" dt="2021-07-06T15:57:36.311" v="4644" actId="478"/>
          <ac:spMkLst>
            <pc:docMk/>
            <pc:sldMk cId="127553332" sldId="2147307526"/>
            <ac:spMk id="55" creationId="{C760ADA6-45B4-416B-BBF7-837BFDD0D824}"/>
          </ac:spMkLst>
        </pc:spChg>
        <pc:spChg chg="add del mod">
          <ac:chgData name="Bharj, Kam" userId="c346c863-01be-4a71-ba36-8d40a81621a7" providerId="ADAL" clId="{22455410-1E34-41AE-817E-0F0AE0B3F8E3}" dt="2021-07-06T16:22:29.273" v="5098" actId="478"/>
          <ac:spMkLst>
            <pc:docMk/>
            <pc:sldMk cId="127553332" sldId="2147307526"/>
            <ac:spMk id="58" creationId="{A4282451-44DF-423D-AB66-8EFA7EF62514}"/>
          </ac:spMkLst>
        </pc:spChg>
        <pc:spChg chg="add del mod">
          <ac:chgData name="Bharj, Kam" userId="c346c863-01be-4a71-ba36-8d40a81621a7" providerId="ADAL" clId="{22455410-1E34-41AE-817E-0F0AE0B3F8E3}" dt="2021-07-06T16:22:29.273" v="5098" actId="478"/>
          <ac:spMkLst>
            <pc:docMk/>
            <pc:sldMk cId="127553332" sldId="2147307526"/>
            <ac:spMk id="59" creationId="{08BF95F7-BCC1-422F-8F75-036AB114676E}"/>
          </ac:spMkLst>
        </pc:spChg>
        <pc:spChg chg="add del mod">
          <ac:chgData name="Bharj, Kam" userId="c346c863-01be-4a71-ba36-8d40a81621a7" providerId="ADAL" clId="{22455410-1E34-41AE-817E-0F0AE0B3F8E3}" dt="2021-07-06T16:22:29.273" v="5098" actId="478"/>
          <ac:spMkLst>
            <pc:docMk/>
            <pc:sldMk cId="127553332" sldId="2147307526"/>
            <ac:spMk id="64" creationId="{B48D2E61-5A5D-418B-BECC-76F89C5DB961}"/>
          </ac:spMkLst>
        </pc:spChg>
        <pc:spChg chg="add mod">
          <ac:chgData name="Bharj, Kam" userId="c346c863-01be-4a71-ba36-8d40a81621a7" providerId="ADAL" clId="{22455410-1E34-41AE-817E-0F0AE0B3F8E3}" dt="2021-07-06T16:23:27.991" v="5106" actId="1076"/>
          <ac:spMkLst>
            <pc:docMk/>
            <pc:sldMk cId="127553332" sldId="2147307526"/>
            <ac:spMk id="66" creationId="{442174CD-7D1C-4D0F-8E20-31E2BD0D447C}"/>
          </ac:spMkLst>
        </pc:spChg>
        <pc:spChg chg="mod">
          <ac:chgData name="Bharj, Kam" userId="c346c863-01be-4a71-ba36-8d40a81621a7" providerId="ADAL" clId="{22455410-1E34-41AE-817E-0F0AE0B3F8E3}" dt="2021-07-06T16:50:21.463" v="5265" actId="255"/>
          <ac:spMkLst>
            <pc:docMk/>
            <pc:sldMk cId="127553332" sldId="2147307526"/>
            <ac:spMk id="67" creationId="{AB310C7E-A0DA-4F35-A2D2-D0BC1B2D9DF6}"/>
          </ac:spMkLst>
        </pc:spChg>
        <pc:spChg chg="add mod">
          <ac:chgData name="Bharj, Kam" userId="c346c863-01be-4a71-ba36-8d40a81621a7" providerId="ADAL" clId="{22455410-1E34-41AE-817E-0F0AE0B3F8E3}" dt="2021-07-06T16:22:47.322" v="5100" actId="1076"/>
          <ac:spMkLst>
            <pc:docMk/>
            <pc:sldMk cId="127553332" sldId="2147307526"/>
            <ac:spMk id="71" creationId="{C5DBA4DC-0EBA-488F-930C-D51D781C0621}"/>
          </ac:spMkLst>
        </pc:spChg>
        <pc:spChg chg="add mod">
          <ac:chgData name="Bharj, Kam" userId="c346c863-01be-4a71-ba36-8d40a81621a7" providerId="ADAL" clId="{22455410-1E34-41AE-817E-0F0AE0B3F8E3}" dt="2021-07-06T16:50:26.704" v="5266" actId="255"/>
          <ac:spMkLst>
            <pc:docMk/>
            <pc:sldMk cId="127553332" sldId="2147307526"/>
            <ac:spMk id="73" creationId="{875817E6-969E-4D7A-AE00-4212FF99A5B3}"/>
          </ac:spMkLst>
        </pc:spChg>
        <pc:spChg chg="add">
          <ac:chgData name="Bharj, Kam" userId="c346c863-01be-4a71-ba36-8d40a81621a7" providerId="ADAL" clId="{22455410-1E34-41AE-817E-0F0AE0B3F8E3}" dt="2021-07-06T16:43:29.008" v="5226"/>
          <ac:spMkLst>
            <pc:docMk/>
            <pc:sldMk cId="127553332" sldId="2147307526"/>
            <ac:spMk id="79" creationId="{FF675DA8-77D7-4F15-BE35-78F71840B5A2}"/>
          </ac:spMkLst>
        </pc:spChg>
        <pc:spChg chg="del mod topLvl">
          <ac:chgData name="Bharj, Kam" userId="c346c863-01be-4a71-ba36-8d40a81621a7" providerId="ADAL" clId="{22455410-1E34-41AE-817E-0F0AE0B3F8E3}" dt="2021-07-04T20:33:14.657" v="2960" actId="478"/>
          <ac:spMkLst>
            <pc:docMk/>
            <pc:sldMk cId="127553332" sldId="2147307526"/>
            <ac:spMk id="156" creationId="{5F98C2B9-4933-4A9F-AF14-2A042DAF916C}"/>
          </ac:spMkLst>
        </pc:spChg>
        <pc:spChg chg="mod topLvl">
          <ac:chgData name="Bharj, Kam" userId="c346c863-01be-4a71-ba36-8d40a81621a7" providerId="ADAL" clId="{22455410-1E34-41AE-817E-0F0AE0B3F8E3}" dt="2021-07-06T16:35:12.710" v="5192" actId="14100"/>
          <ac:spMkLst>
            <pc:docMk/>
            <pc:sldMk cId="127553332" sldId="2147307526"/>
            <ac:spMk id="157" creationId="{4D989F79-00DF-4B6A-8324-EC1775EB9DC5}"/>
          </ac:spMkLst>
        </pc:spChg>
        <pc:grpChg chg="add mod">
          <ac:chgData name="Bharj, Kam" userId="c346c863-01be-4a71-ba36-8d40a81621a7" providerId="ADAL" clId="{22455410-1E34-41AE-817E-0F0AE0B3F8E3}" dt="2021-07-06T16:34:58.212" v="5191" actId="478"/>
          <ac:grpSpMkLst>
            <pc:docMk/>
            <pc:sldMk cId="127553332" sldId="2147307526"/>
            <ac:grpSpMk id="84" creationId="{92BEFA6D-490D-4D7A-A13E-349B66C63BDD}"/>
          </ac:grpSpMkLst>
        </pc:grpChg>
        <pc:grpChg chg="del">
          <ac:chgData name="Bharj, Kam" userId="c346c863-01be-4a71-ba36-8d40a81621a7" providerId="ADAL" clId="{22455410-1E34-41AE-817E-0F0AE0B3F8E3}" dt="2021-07-04T20:32:06.474" v="2956" actId="165"/>
          <ac:grpSpMkLst>
            <pc:docMk/>
            <pc:sldMk cId="127553332" sldId="2147307526"/>
            <ac:grpSpMk id="178" creationId="{4EBBA0D8-7FD3-446B-B193-093340CF3635}"/>
          </ac:grpSpMkLst>
        </pc:grpChg>
        <pc:grpChg chg="del">
          <ac:chgData name="Bharj, Kam" userId="c346c863-01be-4a71-ba36-8d40a81621a7" providerId="ADAL" clId="{22455410-1E34-41AE-817E-0F0AE0B3F8E3}" dt="2021-07-04T20:31:57.784" v="2955" actId="478"/>
          <ac:grpSpMkLst>
            <pc:docMk/>
            <pc:sldMk cId="127553332" sldId="2147307526"/>
            <ac:grpSpMk id="179" creationId="{5DDFDE56-145B-49B6-8580-7C48EE1237C4}"/>
          </ac:grpSpMkLst>
        </pc:grpChg>
        <pc:graphicFrameChg chg="add mod modGraphic">
          <ac:chgData name="Bharj, Kam" userId="c346c863-01be-4a71-ba36-8d40a81621a7" providerId="ADAL" clId="{22455410-1E34-41AE-817E-0F0AE0B3F8E3}" dt="2021-07-05T14:30:51.933" v="4274" actId="2165"/>
          <ac:graphicFrameMkLst>
            <pc:docMk/>
            <pc:sldMk cId="127553332" sldId="2147307526"/>
            <ac:graphicFrameMk id="8" creationId="{C2C8CDB3-EBA7-4DE4-AB1F-C7AF7F361AE4}"/>
          </ac:graphicFrameMkLst>
        </pc:graphicFrameChg>
        <pc:picChg chg="del">
          <ac:chgData name="Bharj, Kam" userId="c346c863-01be-4a71-ba36-8d40a81621a7" providerId="ADAL" clId="{22455410-1E34-41AE-817E-0F0AE0B3F8E3}" dt="2021-07-04T20:32:37.594" v="2957" actId="478"/>
          <ac:picMkLst>
            <pc:docMk/>
            <pc:sldMk cId="127553332" sldId="2147307526"/>
            <ac:picMk id="10" creationId="{69A325A6-1043-43C8-9D7F-784F5EE59635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13" creationId="{B10EB891-95D6-4D93-92C0-783FF4218BCC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15" creationId="{37F14CBE-6142-4383-9885-4B764EAB81C1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17" creationId="{95E33A98-911F-4E86-9560-82FF2CCE0046}"/>
          </ac:picMkLst>
        </pc:picChg>
        <pc:picChg chg="del mod topLvl">
          <ac:chgData name="Bharj, Kam" userId="c346c863-01be-4a71-ba36-8d40a81621a7" providerId="ADAL" clId="{22455410-1E34-41AE-817E-0F0AE0B3F8E3}" dt="2021-07-04T20:38:21.085" v="3047" actId="478"/>
          <ac:picMkLst>
            <pc:docMk/>
            <pc:sldMk cId="127553332" sldId="2147307526"/>
            <ac:picMk id="20" creationId="{EF3FE2D7-DDD5-48DB-BDCA-E20FE6127BD9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22" creationId="{7DFEB34F-E7F9-4B1F-8FF9-F26386A65168}"/>
          </ac:picMkLst>
        </pc:picChg>
        <pc:picChg chg="del mod topLvl">
          <ac:chgData name="Bharj, Kam" userId="c346c863-01be-4a71-ba36-8d40a81621a7" providerId="ADAL" clId="{22455410-1E34-41AE-817E-0F0AE0B3F8E3}" dt="2021-07-04T20:38:17.914" v="3046" actId="478"/>
          <ac:picMkLst>
            <pc:docMk/>
            <pc:sldMk cId="127553332" sldId="2147307526"/>
            <ac:picMk id="24" creationId="{5D39F020-9AD7-47C0-8A45-8B0AF5387F24}"/>
          </ac:picMkLst>
        </pc:picChg>
        <pc:picChg chg="del mod topLvl">
          <ac:chgData name="Bharj, Kam" userId="c346c863-01be-4a71-ba36-8d40a81621a7" providerId="ADAL" clId="{22455410-1E34-41AE-817E-0F0AE0B3F8E3}" dt="2021-07-04T20:38:15.614" v="3045" actId="478"/>
          <ac:picMkLst>
            <pc:docMk/>
            <pc:sldMk cId="127553332" sldId="2147307526"/>
            <ac:picMk id="26" creationId="{8DBA4AF2-7F1B-4EC1-BD50-EDD6AB422AD8}"/>
          </ac:picMkLst>
        </pc:picChg>
        <pc:picChg chg="del mod topLvl">
          <ac:chgData name="Bharj, Kam" userId="c346c863-01be-4a71-ba36-8d40a81621a7" providerId="ADAL" clId="{22455410-1E34-41AE-817E-0F0AE0B3F8E3}" dt="2021-07-04T20:38:48.583" v="3057" actId="478"/>
          <ac:picMkLst>
            <pc:docMk/>
            <pc:sldMk cId="127553332" sldId="2147307526"/>
            <ac:picMk id="28" creationId="{3489CF86-8A6C-4A8D-AEBB-386C04AF9990}"/>
          </ac:picMkLst>
        </pc:picChg>
        <pc:picChg chg="del mod topLvl">
          <ac:chgData name="Bharj, Kam" userId="c346c863-01be-4a71-ba36-8d40a81621a7" providerId="ADAL" clId="{22455410-1E34-41AE-817E-0F0AE0B3F8E3}" dt="2021-07-04T20:38:55.788" v="3060" actId="478"/>
          <ac:picMkLst>
            <pc:docMk/>
            <pc:sldMk cId="127553332" sldId="2147307526"/>
            <ac:picMk id="30" creationId="{B28C9EE7-E1F9-4423-AE6C-26ABCF0FBCFD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31" creationId="{511157CD-C0A5-4379-8F39-1484F808CA64}"/>
          </ac:picMkLst>
        </pc:picChg>
        <pc:picChg chg="add del mod">
          <ac:chgData name="Bharj, Kam" userId="c346c863-01be-4a71-ba36-8d40a81621a7" providerId="ADAL" clId="{22455410-1E34-41AE-817E-0F0AE0B3F8E3}" dt="2021-07-06T15:57:41.168" v="4645" actId="478"/>
          <ac:picMkLst>
            <pc:docMk/>
            <pc:sldMk cId="127553332" sldId="2147307526"/>
            <ac:picMk id="32" creationId="{1113661B-CFC1-4AEF-B64E-DAABBF440AEF}"/>
          </ac:picMkLst>
        </pc:picChg>
        <pc:picChg chg="del mod topLvl">
          <ac:chgData name="Bharj, Kam" userId="c346c863-01be-4a71-ba36-8d40a81621a7" providerId="ADAL" clId="{22455410-1E34-41AE-817E-0F0AE0B3F8E3}" dt="2021-07-04T20:38:48.583" v="3057" actId="478"/>
          <ac:picMkLst>
            <pc:docMk/>
            <pc:sldMk cId="127553332" sldId="2147307526"/>
            <ac:picMk id="32" creationId="{FBBBB2EC-B976-4A4D-BFA0-3F830B332579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33" creationId="{4C31B69E-DED8-4EB7-B15C-C289A8B3D05D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34" creationId="{74A55E36-7953-4B5D-9438-9BA3D943398D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35" creationId="{682F0EBD-EC5E-491F-B236-AC5799340637}"/>
          </ac:picMkLst>
        </pc:picChg>
        <pc:picChg chg="mod topLvl">
          <ac:chgData name="Bharj, Kam" userId="c346c863-01be-4a71-ba36-8d40a81621a7" providerId="ADAL" clId="{22455410-1E34-41AE-817E-0F0AE0B3F8E3}" dt="2021-07-04T20:45:35.092" v="3303" actId="164"/>
          <ac:picMkLst>
            <pc:docMk/>
            <pc:sldMk cId="127553332" sldId="2147307526"/>
            <ac:picMk id="36" creationId="{5849FCC3-DB68-4719-A1A7-965CAC381235}"/>
          </ac:picMkLst>
        </pc:picChg>
        <pc:picChg chg="add del">
          <ac:chgData name="Bharj, Kam" userId="c346c863-01be-4a71-ba36-8d40a81621a7" providerId="ADAL" clId="{22455410-1E34-41AE-817E-0F0AE0B3F8E3}" dt="2021-07-06T16:24:34.231" v="5108" actId="478"/>
          <ac:picMkLst>
            <pc:docMk/>
            <pc:sldMk cId="127553332" sldId="2147307526"/>
            <ac:picMk id="49" creationId="{7CC1BA7C-CCF5-44DD-95C9-DEB1C6BF3B43}"/>
          </ac:picMkLst>
        </pc:picChg>
        <pc:picChg chg="add del mod">
          <ac:chgData name="Bharj, Kam" userId="c346c863-01be-4a71-ba36-8d40a81621a7" providerId="ADAL" clId="{22455410-1E34-41AE-817E-0F0AE0B3F8E3}" dt="2021-07-06T16:22:29.273" v="5098" actId="478"/>
          <ac:picMkLst>
            <pc:docMk/>
            <pc:sldMk cId="127553332" sldId="2147307526"/>
            <ac:picMk id="60" creationId="{C92B618C-D428-434B-B5AE-EDD96803E37B}"/>
          </ac:picMkLst>
        </pc:picChg>
        <pc:picChg chg="add del mod">
          <ac:chgData name="Bharj, Kam" userId="c346c863-01be-4a71-ba36-8d40a81621a7" providerId="ADAL" clId="{22455410-1E34-41AE-817E-0F0AE0B3F8E3}" dt="2021-07-06T15:47:40.670" v="4637" actId="478"/>
          <ac:picMkLst>
            <pc:docMk/>
            <pc:sldMk cId="127553332" sldId="2147307526"/>
            <ac:picMk id="61" creationId="{D7C8FB69-D9A5-4D6B-B794-FFAC408A6D43}"/>
          </ac:picMkLst>
        </pc:picChg>
        <pc:picChg chg="add del mod">
          <ac:chgData name="Bharj, Kam" userId="c346c863-01be-4a71-ba36-8d40a81621a7" providerId="ADAL" clId="{22455410-1E34-41AE-817E-0F0AE0B3F8E3}" dt="2021-07-06T16:22:29.273" v="5098" actId="478"/>
          <ac:picMkLst>
            <pc:docMk/>
            <pc:sldMk cId="127553332" sldId="2147307526"/>
            <ac:picMk id="62" creationId="{533156E8-F751-4CBE-A930-00641FB15020}"/>
          </ac:picMkLst>
        </pc:picChg>
        <pc:picChg chg="add del mod">
          <ac:chgData name="Bharj, Kam" userId="c346c863-01be-4a71-ba36-8d40a81621a7" providerId="ADAL" clId="{22455410-1E34-41AE-817E-0F0AE0B3F8E3}" dt="2021-07-06T16:22:29.273" v="5098" actId="478"/>
          <ac:picMkLst>
            <pc:docMk/>
            <pc:sldMk cId="127553332" sldId="2147307526"/>
            <ac:picMk id="65" creationId="{34DF9794-397C-4774-8782-64D8C04F40EE}"/>
          </ac:picMkLst>
        </pc:picChg>
        <pc:picChg chg="add mod">
          <ac:chgData name="Bharj, Kam" userId="c346c863-01be-4a71-ba36-8d40a81621a7" providerId="ADAL" clId="{22455410-1E34-41AE-817E-0F0AE0B3F8E3}" dt="2021-07-06T16:22:47.322" v="5100" actId="1076"/>
          <ac:picMkLst>
            <pc:docMk/>
            <pc:sldMk cId="127553332" sldId="2147307526"/>
            <ac:picMk id="68" creationId="{933E4C63-FF4D-4F97-9431-DF06370E455F}"/>
          </ac:picMkLst>
        </pc:picChg>
        <pc:picChg chg="add del">
          <ac:chgData name="Bharj, Kam" userId="c346c863-01be-4a71-ba36-8d40a81621a7" providerId="ADAL" clId="{22455410-1E34-41AE-817E-0F0AE0B3F8E3}" dt="2021-07-06T16:51:23.334" v="5277" actId="478"/>
          <ac:picMkLst>
            <pc:docMk/>
            <pc:sldMk cId="127553332" sldId="2147307526"/>
            <ac:picMk id="75" creationId="{E768AA9F-DCE7-4C3E-BEAB-55EF393F23A9}"/>
          </ac:picMkLst>
        </pc:picChg>
        <pc:cxnChg chg="del mod topLvl">
          <ac:chgData name="Bharj, Kam" userId="c346c863-01be-4a71-ba36-8d40a81621a7" providerId="ADAL" clId="{22455410-1E34-41AE-817E-0F0AE0B3F8E3}" dt="2021-07-04T20:38:11.997" v="3044" actId="478"/>
          <ac:cxnSpMkLst>
            <pc:docMk/>
            <pc:sldMk cId="127553332" sldId="2147307526"/>
            <ac:cxnSpMk id="38" creationId="{7C0EB70B-6930-445F-B586-F5F1A5DC6067}"/>
          </ac:cxnSpMkLst>
        </pc:cxnChg>
        <pc:cxnChg chg="del mod topLvl">
          <ac:chgData name="Bharj, Kam" userId="c346c863-01be-4a71-ba36-8d40a81621a7" providerId="ADAL" clId="{22455410-1E34-41AE-817E-0F0AE0B3F8E3}" dt="2021-07-04T20:38:41.362" v="3055" actId="478"/>
          <ac:cxnSpMkLst>
            <pc:docMk/>
            <pc:sldMk cId="127553332" sldId="2147307526"/>
            <ac:cxnSpMk id="41" creationId="{9A978C3B-D061-40FB-8116-9403777E4EF6}"/>
          </ac:cxnSpMkLst>
        </pc:cxnChg>
        <pc:cxnChg chg="mod topLvl">
          <ac:chgData name="Bharj, Kam" userId="c346c863-01be-4a71-ba36-8d40a81621a7" providerId="ADAL" clId="{22455410-1E34-41AE-817E-0F0AE0B3F8E3}" dt="2021-07-04T20:45:35.092" v="3303" actId="164"/>
          <ac:cxnSpMkLst>
            <pc:docMk/>
            <pc:sldMk cId="127553332" sldId="2147307526"/>
            <ac:cxnSpMk id="44" creationId="{9DB6647F-8EF8-4885-82D3-8576E4BF452F}"/>
          </ac:cxnSpMkLst>
        </pc:cxnChg>
        <pc:cxnChg chg="del mod topLvl">
          <ac:chgData name="Bharj, Kam" userId="c346c863-01be-4a71-ba36-8d40a81621a7" providerId="ADAL" clId="{22455410-1E34-41AE-817E-0F0AE0B3F8E3}" dt="2021-07-04T20:38:07.765" v="3042" actId="478"/>
          <ac:cxnSpMkLst>
            <pc:docMk/>
            <pc:sldMk cId="127553332" sldId="2147307526"/>
            <ac:cxnSpMk id="47" creationId="{726F6EF7-24EC-4713-83EA-E4A1BEAE7EB3}"/>
          </ac:cxnSpMkLst>
        </pc:cxnChg>
        <pc:cxnChg chg="del mod topLvl">
          <ac:chgData name="Bharj, Kam" userId="c346c863-01be-4a71-ba36-8d40a81621a7" providerId="ADAL" clId="{22455410-1E34-41AE-817E-0F0AE0B3F8E3}" dt="2021-07-04T20:38:44.795" v="3056" actId="478"/>
          <ac:cxnSpMkLst>
            <pc:docMk/>
            <pc:sldMk cId="127553332" sldId="2147307526"/>
            <ac:cxnSpMk id="51" creationId="{6A6830A9-E8C2-4AAA-84CF-42D7466D7971}"/>
          </ac:cxnSpMkLst>
        </pc:cxnChg>
        <pc:cxnChg chg="add mod">
          <ac:chgData name="Bharj, Kam" userId="c346c863-01be-4a71-ba36-8d40a81621a7" providerId="ADAL" clId="{22455410-1E34-41AE-817E-0F0AE0B3F8E3}" dt="2021-07-06T13:17:46.009" v="4322" actId="14100"/>
          <ac:cxnSpMkLst>
            <pc:docMk/>
            <pc:sldMk cId="127553332" sldId="2147307526"/>
            <ac:cxnSpMk id="53" creationId="{14A76C7F-2F5F-49C1-9C54-E8E9A9D9A810}"/>
          </ac:cxnSpMkLst>
        </pc:cxnChg>
        <pc:cxnChg chg="mod topLvl">
          <ac:chgData name="Bharj, Kam" userId="c346c863-01be-4a71-ba36-8d40a81621a7" providerId="ADAL" clId="{22455410-1E34-41AE-817E-0F0AE0B3F8E3}" dt="2021-07-04T20:45:35.092" v="3303" actId="164"/>
          <ac:cxnSpMkLst>
            <pc:docMk/>
            <pc:sldMk cId="127553332" sldId="2147307526"/>
            <ac:cxnSpMk id="54" creationId="{99D8C763-55FD-4D01-AD8B-B337C25940B9}"/>
          </ac:cxnSpMkLst>
        </pc:cxnChg>
        <pc:cxnChg chg="add del mod">
          <ac:chgData name="Bharj, Kam" userId="c346c863-01be-4a71-ba36-8d40a81621a7" providerId="ADAL" clId="{22455410-1E34-41AE-817E-0F0AE0B3F8E3}" dt="2021-07-06T16:34:58.212" v="5191" actId="478"/>
          <ac:cxnSpMkLst>
            <pc:docMk/>
            <pc:sldMk cId="127553332" sldId="2147307526"/>
            <ac:cxnSpMk id="56" creationId="{527C035E-9081-4745-92C0-AF1BA9C6FB5F}"/>
          </ac:cxnSpMkLst>
        </pc:cxnChg>
        <pc:cxnChg chg="mod topLvl">
          <ac:chgData name="Bharj, Kam" userId="c346c863-01be-4a71-ba36-8d40a81621a7" providerId="ADAL" clId="{22455410-1E34-41AE-817E-0F0AE0B3F8E3}" dt="2021-07-05T14:32:59.064" v="4275" actId="14100"/>
          <ac:cxnSpMkLst>
            <pc:docMk/>
            <pc:sldMk cId="127553332" sldId="2147307526"/>
            <ac:cxnSpMk id="57" creationId="{C4560087-C750-4BFC-BCDB-75D004E7EA8F}"/>
          </ac:cxnSpMkLst>
        </pc:cxnChg>
        <pc:cxnChg chg="del mod topLvl">
          <ac:chgData name="Bharj, Kam" userId="c346c863-01be-4a71-ba36-8d40a81621a7" providerId="ADAL" clId="{22455410-1E34-41AE-817E-0F0AE0B3F8E3}" dt="2021-07-04T20:38:39.517" v="3054" actId="478"/>
          <ac:cxnSpMkLst>
            <pc:docMk/>
            <pc:sldMk cId="127553332" sldId="2147307526"/>
            <ac:cxnSpMk id="60" creationId="{3EE15C2D-9AAF-47D9-8AC3-2459D84E63E3}"/>
          </ac:cxnSpMkLst>
        </pc:cxnChg>
        <pc:cxnChg chg="mod topLvl">
          <ac:chgData name="Bharj, Kam" userId="c346c863-01be-4a71-ba36-8d40a81621a7" providerId="ADAL" clId="{22455410-1E34-41AE-817E-0F0AE0B3F8E3}" dt="2021-07-04T20:45:35.092" v="3303" actId="164"/>
          <ac:cxnSpMkLst>
            <pc:docMk/>
            <pc:sldMk cId="127553332" sldId="2147307526"/>
            <ac:cxnSpMk id="63" creationId="{85A3428F-302B-41C4-B1C3-9D6ADAB97124}"/>
          </ac:cxnSpMkLst>
        </pc:cxnChg>
        <pc:cxnChg chg="add del mod">
          <ac:chgData name="Bharj, Kam" userId="c346c863-01be-4a71-ba36-8d40a81621a7" providerId="ADAL" clId="{22455410-1E34-41AE-817E-0F0AE0B3F8E3}" dt="2021-07-06T15:39:52.155" v="4522" actId="478"/>
          <ac:cxnSpMkLst>
            <pc:docMk/>
            <pc:sldMk cId="127553332" sldId="2147307526"/>
            <ac:cxnSpMk id="67" creationId="{DBCB61C4-8FFB-4E96-9F08-FD226A0162F9}"/>
          </ac:cxnSpMkLst>
        </pc:cxnChg>
        <pc:cxnChg chg="add del mod">
          <ac:chgData name="Bharj, Kam" userId="c346c863-01be-4a71-ba36-8d40a81621a7" providerId="ADAL" clId="{22455410-1E34-41AE-817E-0F0AE0B3F8E3}" dt="2021-07-06T16:51:26.463" v="5278" actId="478"/>
          <ac:cxnSpMkLst>
            <pc:docMk/>
            <pc:sldMk cId="127553332" sldId="2147307526"/>
            <ac:cxnSpMk id="69" creationId="{5AB22A84-092D-4CFA-97A0-B6291C190471}"/>
          </ac:cxnSpMkLst>
        </pc:cxnChg>
        <pc:cxnChg chg="add mod">
          <ac:chgData name="Bharj, Kam" userId="c346c863-01be-4a71-ba36-8d40a81621a7" providerId="ADAL" clId="{22455410-1E34-41AE-817E-0F0AE0B3F8E3}" dt="2021-07-04T20:45:35.092" v="3303" actId="164"/>
          <ac:cxnSpMkLst>
            <pc:docMk/>
            <pc:sldMk cId="127553332" sldId="2147307526"/>
            <ac:cxnSpMk id="70" creationId="{915A776D-6990-4111-9EF0-AE6675CE10A2}"/>
          </ac:cxnSpMkLst>
        </pc:cxnChg>
        <pc:cxnChg chg="add del mod">
          <ac:chgData name="Bharj, Kam" userId="c346c863-01be-4a71-ba36-8d40a81621a7" providerId="ADAL" clId="{22455410-1E34-41AE-817E-0F0AE0B3F8E3}" dt="2021-07-06T16:51:17.005" v="5272" actId="478"/>
          <ac:cxnSpMkLst>
            <pc:docMk/>
            <pc:sldMk cId="127553332" sldId="2147307526"/>
            <ac:cxnSpMk id="72" creationId="{93700BB2-7360-454C-876E-D95953727DF4}"/>
          </ac:cxnSpMkLst>
        </pc:cxnChg>
        <pc:cxnChg chg="del">
          <ac:chgData name="Bharj, Kam" userId="c346c863-01be-4a71-ba36-8d40a81621a7" providerId="ADAL" clId="{22455410-1E34-41AE-817E-0F0AE0B3F8E3}" dt="2021-07-06T16:51:19.285" v="5273" actId="478"/>
          <ac:cxnSpMkLst>
            <pc:docMk/>
            <pc:sldMk cId="127553332" sldId="2147307526"/>
            <ac:cxnSpMk id="74" creationId="{00829B36-FF67-4147-91CC-CD73FC6C7DC9}"/>
          </ac:cxnSpMkLst>
        </pc:cxnChg>
        <pc:cxnChg chg="add mod">
          <ac:chgData name="Bharj, Kam" userId="c346c863-01be-4a71-ba36-8d40a81621a7" providerId="ADAL" clId="{22455410-1E34-41AE-817E-0F0AE0B3F8E3}" dt="2021-07-06T16:51:08.499" v="5270" actId="14100"/>
          <ac:cxnSpMkLst>
            <pc:docMk/>
            <pc:sldMk cId="127553332" sldId="2147307526"/>
            <ac:cxnSpMk id="80" creationId="{D9D9253C-8494-49B9-9E6C-221DCF0BDE89}"/>
          </ac:cxnSpMkLst>
        </pc:cxnChg>
        <pc:cxnChg chg="del mod topLvl">
          <ac:chgData name="Bharj, Kam" userId="c346c863-01be-4a71-ba36-8d40a81621a7" providerId="ADAL" clId="{22455410-1E34-41AE-817E-0F0AE0B3F8E3}" dt="2021-07-04T20:38:49.917" v="3058" actId="478"/>
          <ac:cxnSpMkLst>
            <pc:docMk/>
            <pc:sldMk cId="127553332" sldId="2147307526"/>
            <ac:cxnSpMk id="138" creationId="{42F5D30E-B8B4-445A-941C-BB24B2AA4D38}"/>
          </ac:cxnSpMkLst>
        </pc:cxnChg>
        <pc:cxnChg chg="del mod topLvl">
          <ac:chgData name="Bharj, Kam" userId="c346c863-01be-4a71-ba36-8d40a81621a7" providerId="ADAL" clId="{22455410-1E34-41AE-817E-0F0AE0B3F8E3}" dt="2021-07-04T20:38:57.461" v="3061" actId="478"/>
          <ac:cxnSpMkLst>
            <pc:docMk/>
            <pc:sldMk cId="127553332" sldId="2147307526"/>
            <ac:cxnSpMk id="141" creationId="{00F356F0-E54E-491F-B25B-412E81FF9365}"/>
          </ac:cxnSpMkLst>
        </pc:cxnChg>
        <pc:cxnChg chg="mod topLvl">
          <ac:chgData name="Bharj, Kam" userId="c346c863-01be-4a71-ba36-8d40a81621a7" providerId="ADAL" clId="{22455410-1E34-41AE-817E-0F0AE0B3F8E3}" dt="2021-07-04T20:45:35.092" v="3303" actId="164"/>
          <ac:cxnSpMkLst>
            <pc:docMk/>
            <pc:sldMk cId="127553332" sldId="2147307526"/>
            <ac:cxnSpMk id="144" creationId="{AD9D06BB-772C-40B6-9234-A1BF1FEF1B05}"/>
          </ac:cxnSpMkLst>
        </pc:cxnChg>
        <pc:cxnChg chg="del mod topLvl">
          <ac:chgData name="Bharj, Kam" userId="c346c863-01be-4a71-ba36-8d40a81621a7" providerId="ADAL" clId="{22455410-1E34-41AE-817E-0F0AE0B3F8E3}" dt="2021-07-04T20:38:05.901" v="3041" actId="478"/>
          <ac:cxnSpMkLst>
            <pc:docMk/>
            <pc:sldMk cId="127553332" sldId="2147307526"/>
            <ac:cxnSpMk id="147" creationId="{3ACBC91E-D52E-4802-BD17-2A17E9256E2F}"/>
          </ac:cxnSpMkLst>
        </pc:cxnChg>
        <pc:cxnChg chg="mod topLvl">
          <ac:chgData name="Bharj, Kam" userId="c346c863-01be-4a71-ba36-8d40a81621a7" providerId="ADAL" clId="{22455410-1E34-41AE-817E-0F0AE0B3F8E3}" dt="2021-07-05T14:33:03.969" v="4276" actId="14100"/>
          <ac:cxnSpMkLst>
            <pc:docMk/>
            <pc:sldMk cId="127553332" sldId="2147307526"/>
            <ac:cxnSpMk id="149" creationId="{6E0D1F6B-61D0-41D0-A511-EFB8201843AB}"/>
          </ac:cxnSpMkLst>
        </pc:cxnChg>
      </pc:sldChg>
    </pc:docChg>
  </pc:docChgLst>
  <pc:docChgLst>
    <pc:chgData name="Ajwaliya, Nishit" userId="d6171631-3d08-453d-8afd-2dc62a5026e2" providerId="ADAL" clId="{A9041E5D-6FE7-462F-A6BD-52FEE9E40C8D}"/>
    <pc:docChg chg="undo custSel addSld delSld modSld modSection">
      <pc:chgData name="Ajwaliya, Nishit" userId="d6171631-3d08-453d-8afd-2dc62a5026e2" providerId="ADAL" clId="{A9041E5D-6FE7-462F-A6BD-52FEE9E40C8D}" dt="2021-07-06T16:46:29.276" v="922" actId="20577"/>
      <pc:docMkLst>
        <pc:docMk/>
      </pc:docMkLst>
      <pc:sldChg chg="del">
        <pc:chgData name="Ajwaliya, Nishit" userId="d6171631-3d08-453d-8afd-2dc62a5026e2" providerId="ADAL" clId="{A9041E5D-6FE7-462F-A6BD-52FEE9E40C8D}" dt="2021-07-06T16:41:21.978" v="856" actId="2696"/>
        <pc:sldMkLst>
          <pc:docMk/>
          <pc:sldMk cId="1097472054" sldId="297"/>
        </pc:sldMkLst>
      </pc:sldChg>
      <pc:sldChg chg="del">
        <pc:chgData name="Ajwaliya, Nishit" userId="d6171631-3d08-453d-8afd-2dc62a5026e2" providerId="ADAL" clId="{A9041E5D-6FE7-462F-A6BD-52FEE9E40C8D}" dt="2021-07-06T16:41:56.246" v="858" actId="2696"/>
        <pc:sldMkLst>
          <pc:docMk/>
          <pc:sldMk cId="144652878" sldId="838839873"/>
        </pc:sldMkLst>
      </pc:sldChg>
      <pc:sldChg chg="modSp">
        <pc:chgData name="Ajwaliya, Nishit" userId="d6171631-3d08-453d-8afd-2dc62a5026e2" providerId="ADAL" clId="{A9041E5D-6FE7-462F-A6BD-52FEE9E40C8D}" dt="2021-07-06T16:36:04.125" v="782" actId="20577"/>
        <pc:sldMkLst>
          <pc:docMk/>
          <pc:sldMk cId="1760984849" sldId="838840200"/>
        </pc:sldMkLst>
        <pc:graphicFrameChg chg="modGraphic">
          <ac:chgData name="Ajwaliya, Nishit" userId="d6171631-3d08-453d-8afd-2dc62a5026e2" providerId="ADAL" clId="{A9041E5D-6FE7-462F-A6BD-52FEE9E40C8D}" dt="2021-07-06T16:36:04.125" v="782" actId="20577"/>
          <ac:graphicFrameMkLst>
            <pc:docMk/>
            <pc:sldMk cId="1760984849" sldId="838840200"/>
            <ac:graphicFrameMk id="3" creationId="{B9BE99C4-8C9A-49C3-8DEB-59632364C38C}"/>
          </ac:graphicFrameMkLst>
        </pc:graphicFrameChg>
      </pc:sldChg>
      <pc:sldChg chg="add del">
        <pc:chgData name="Ajwaliya, Nishit" userId="d6171631-3d08-453d-8afd-2dc62a5026e2" providerId="ADAL" clId="{A9041E5D-6FE7-462F-A6BD-52FEE9E40C8D}" dt="2021-07-06T16:41:09.466" v="855" actId="2696"/>
        <pc:sldMkLst>
          <pc:docMk/>
          <pc:sldMk cId="305343245" sldId="838840202"/>
        </pc:sldMkLst>
      </pc:sldChg>
      <pc:sldChg chg="delSp modSp">
        <pc:chgData name="Ajwaliya, Nishit" userId="d6171631-3d08-453d-8afd-2dc62a5026e2" providerId="ADAL" clId="{A9041E5D-6FE7-462F-A6BD-52FEE9E40C8D}" dt="2021-07-06T16:38:23.950" v="822" actId="1076"/>
        <pc:sldMkLst>
          <pc:docMk/>
          <pc:sldMk cId="3198995261" sldId="838840203"/>
        </pc:sldMkLst>
        <pc:spChg chg="del">
          <ac:chgData name="Ajwaliya, Nishit" userId="d6171631-3d08-453d-8afd-2dc62a5026e2" providerId="ADAL" clId="{A9041E5D-6FE7-462F-A6BD-52FEE9E40C8D}" dt="2021-07-06T16:37:05.769" v="783" actId="478"/>
          <ac:spMkLst>
            <pc:docMk/>
            <pc:sldMk cId="3198995261" sldId="838840203"/>
            <ac:spMk id="5" creationId="{F146CB2E-636D-41B2-816B-3CF7BA258152}"/>
          </ac:spMkLst>
        </pc:spChg>
        <pc:picChg chg="mod">
          <ac:chgData name="Ajwaliya, Nishit" userId="d6171631-3d08-453d-8afd-2dc62a5026e2" providerId="ADAL" clId="{A9041E5D-6FE7-462F-A6BD-52FEE9E40C8D}" dt="2021-07-06T16:38:23.950" v="822" actId="1076"/>
          <ac:picMkLst>
            <pc:docMk/>
            <pc:sldMk cId="3198995261" sldId="838840203"/>
            <ac:picMk id="7" creationId="{F780C6EA-05B5-4DCA-90F8-A37CA5BEB15C}"/>
          </ac:picMkLst>
        </pc:picChg>
      </pc:sldChg>
      <pc:sldChg chg="modSp">
        <pc:chgData name="Ajwaliya, Nishit" userId="d6171631-3d08-453d-8afd-2dc62a5026e2" providerId="ADAL" clId="{A9041E5D-6FE7-462F-A6BD-52FEE9E40C8D}" dt="2021-07-06T16:34:39.566" v="765" actId="20577"/>
        <pc:sldMkLst>
          <pc:docMk/>
          <pc:sldMk cId="4156729493" sldId="838840206"/>
        </pc:sldMkLst>
        <pc:graphicFrameChg chg="modGraphic">
          <ac:chgData name="Ajwaliya, Nishit" userId="d6171631-3d08-453d-8afd-2dc62a5026e2" providerId="ADAL" clId="{A9041E5D-6FE7-462F-A6BD-52FEE9E40C8D}" dt="2021-07-06T16:34:39.566" v="765" actId="20577"/>
          <ac:graphicFrameMkLst>
            <pc:docMk/>
            <pc:sldMk cId="4156729493" sldId="838840206"/>
            <ac:graphicFrameMk id="5" creationId="{8496A17B-3BD9-4E2C-98A0-22D24B726A9D}"/>
          </ac:graphicFrameMkLst>
        </pc:graphicFrameChg>
      </pc:sldChg>
      <pc:sldChg chg="modSp add modNotes">
        <pc:chgData name="Ajwaliya, Nishit" userId="d6171631-3d08-453d-8afd-2dc62a5026e2" providerId="ADAL" clId="{A9041E5D-6FE7-462F-A6BD-52FEE9E40C8D}" dt="2021-07-06T16:39:21.597" v="854" actId="6549"/>
        <pc:sldMkLst>
          <pc:docMk/>
          <pc:sldMk cId="1517717599" sldId="2147307518"/>
        </pc:sldMkLst>
        <pc:spChg chg="mod">
          <ac:chgData name="Ajwaliya, Nishit" userId="d6171631-3d08-453d-8afd-2dc62a5026e2" providerId="ADAL" clId="{A9041E5D-6FE7-462F-A6BD-52FEE9E40C8D}" dt="2021-07-06T16:39:21.597" v="854" actId="6549"/>
          <ac:spMkLst>
            <pc:docMk/>
            <pc:sldMk cId="1517717599" sldId="2147307518"/>
            <ac:spMk id="102" creationId="{B9C48391-D516-4B99-9594-2AABB5CA04A0}"/>
          </ac:spMkLst>
        </pc:spChg>
        <pc:spChg chg="mod">
          <ac:chgData name="Ajwaliya, Nishit" userId="d6171631-3d08-453d-8afd-2dc62a5026e2" providerId="ADAL" clId="{A9041E5D-6FE7-462F-A6BD-52FEE9E40C8D}" dt="2021-07-06T16:34:08.991" v="759" actId="20577"/>
          <ac:spMkLst>
            <pc:docMk/>
            <pc:sldMk cId="1517717599" sldId="2147307518"/>
            <ac:spMk id="153" creationId="{80FC4415-DE21-4150-9DDA-E87EB66D3459}"/>
          </ac:spMkLst>
        </pc:spChg>
        <pc:spChg chg="mod">
          <ac:chgData name="Ajwaliya, Nishit" userId="d6171631-3d08-453d-8afd-2dc62a5026e2" providerId="ADAL" clId="{A9041E5D-6FE7-462F-A6BD-52FEE9E40C8D}" dt="2021-07-06T16:34:20.687" v="761" actId="20577"/>
          <ac:spMkLst>
            <pc:docMk/>
            <pc:sldMk cId="1517717599" sldId="2147307518"/>
            <ac:spMk id="174" creationId="{56EF18D1-B090-48AF-A816-131E9640B124}"/>
          </ac:spMkLst>
        </pc:spChg>
      </pc:sldChg>
      <pc:sldChg chg="addSp delSp modSp">
        <pc:chgData name="Ajwaliya, Nishit" userId="d6171631-3d08-453d-8afd-2dc62a5026e2" providerId="ADAL" clId="{A9041E5D-6FE7-462F-A6BD-52FEE9E40C8D}" dt="2021-07-06T16:46:29.276" v="922" actId="20577"/>
        <pc:sldMkLst>
          <pc:docMk/>
          <pc:sldMk cId="4135496317" sldId="2147307523"/>
        </pc:sldMkLst>
        <pc:spChg chg="mod">
          <ac:chgData name="Ajwaliya, Nishit" userId="d6171631-3d08-453d-8afd-2dc62a5026e2" providerId="ADAL" clId="{A9041E5D-6FE7-462F-A6BD-52FEE9E40C8D}" dt="2021-07-06T16:16:06.756" v="196" actId="14100"/>
          <ac:spMkLst>
            <pc:docMk/>
            <pc:sldMk cId="4135496317" sldId="2147307523"/>
            <ac:spMk id="7" creationId="{B81D1DD6-C411-4C17-91D7-583D53814FC5}"/>
          </ac:spMkLst>
        </pc:spChg>
        <pc:spChg chg="mod">
          <ac:chgData name="Ajwaliya, Nishit" userId="d6171631-3d08-453d-8afd-2dc62a5026e2" providerId="ADAL" clId="{A9041E5D-6FE7-462F-A6BD-52FEE9E40C8D}" dt="2021-07-06T16:16:11.687" v="197" actId="14100"/>
          <ac:spMkLst>
            <pc:docMk/>
            <pc:sldMk cId="4135496317" sldId="2147307523"/>
            <ac:spMk id="11" creationId="{A31A092B-8474-44FA-B302-17B841CAC2E3}"/>
          </ac:spMkLst>
        </pc:spChg>
        <pc:spChg chg="mod">
          <ac:chgData name="Ajwaliya, Nishit" userId="d6171631-3d08-453d-8afd-2dc62a5026e2" providerId="ADAL" clId="{A9041E5D-6FE7-462F-A6BD-52FEE9E40C8D}" dt="2021-07-06T16:02:18.124" v="108" actId="1036"/>
          <ac:spMkLst>
            <pc:docMk/>
            <pc:sldMk cId="4135496317" sldId="2147307523"/>
            <ac:spMk id="14" creationId="{2D58482B-4A81-4E34-BCAE-B57A1B5D6448}"/>
          </ac:spMkLst>
        </pc:spChg>
        <pc:spChg chg="mod">
          <ac:chgData name="Ajwaliya, Nishit" userId="d6171631-3d08-453d-8afd-2dc62a5026e2" providerId="ADAL" clId="{A9041E5D-6FE7-462F-A6BD-52FEE9E40C8D}" dt="2021-07-06T16:02:24.557" v="109" actId="1076"/>
          <ac:spMkLst>
            <pc:docMk/>
            <pc:sldMk cId="4135496317" sldId="2147307523"/>
            <ac:spMk id="16" creationId="{FA97D08C-9744-49E5-A4EB-C6C631F8D1DD}"/>
          </ac:spMkLst>
        </pc:spChg>
        <pc:spChg chg="mod">
          <ac:chgData name="Ajwaliya, Nishit" userId="d6171631-3d08-453d-8afd-2dc62a5026e2" providerId="ADAL" clId="{A9041E5D-6FE7-462F-A6BD-52FEE9E40C8D}" dt="2021-07-06T16:15:32.192" v="195" actId="1076"/>
          <ac:spMkLst>
            <pc:docMk/>
            <pc:sldMk cId="4135496317" sldId="2147307523"/>
            <ac:spMk id="18" creationId="{3F0161EC-E41B-401D-8238-DFE9CDF9FE2B}"/>
          </ac:spMkLst>
        </pc:spChg>
        <pc:spChg chg="mod">
          <ac:chgData name="Ajwaliya, Nishit" userId="d6171631-3d08-453d-8afd-2dc62a5026e2" providerId="ADAL" clId="{A9041E5D-6FE7-462F-A6BD-52FEE9E40C8D}" dt="2021-07-06T16:21:07.941" v="222" actId="1076"/>
          <ac:spMkLst>
            <pc:docMk/>
            <pc:sldMk cId="4135496317" sldId="2147307523"/>
            <ac:spMk id="21" creationId="{47B18296-2C0C-4BC1-A681-8442B8EFDD64}"/>
          </ac:spMkLst>
        </pc:spChg>
        <pc:spChg chg="mod">
          <ac:chgData name="Ajwaliya, Nishit" userId="d6171631-3d08-453d-8afd-2dc62a5026e2" providerId="ADAL" clId="{A9041E5D-6FE7-462F-A6BD-52FEE9E40C8D}" dt="2021-07-06T16:46:29.276" v="922" actId="20577"/>
          <ac:spMkLst>
            <pc:docMk/>
            <pc:sldMk cId="4135496317" sldId="2147307523"/>
            <ac:spMk id="50" creationId="{887FB771-193A-4AE1-B36C-619F347E44CD}"/>
          </ac:spMkLst>
        </pc:spChg>
        <pc:spChg chg="mod">
          <ac:chgData name="Ajwaliya, Nishit" userId="d6171631-3d08-453d-8afd-2dc62a5026e2" providerId="ADAL" clId="{A9041E5D-6FE7-462F-A6BD-52FEE9E40C8D}" dt="2021-07-06T16:14:08.905" v="179" actId="14100"/>
          <ac:spMkLst>
            <pc:docMk/>
            <pc:sldMk cId="4135496317" sldId="2147307523"/>
            <ac:spMk id="64" creationId="{49EBA943-3619-485D-8842-454C6B01F656}"/>
          </ac:spMkLst>
        </pc:spChg>
        <pc:spChg chg="del">
          <ac:chgData name="Ajwaliya, Nishit" userId="d6171631-3d08-453d-8afd-2dc62a5026e2" providerId="ADAL" clId="{A9041E5D-6FE7-462F-A6BD-52FEE9E40C8D}" dt="2021-07-06T16:00:20.916" v="51" actId="478"/>
          <ac:spMkLst>
            <pc:docMk/>
            <pc:sldMk cId="4135496317" sldId="2147307523"/>
            <ac:spMk id="65" creationId="{0D141F1D-6C38-4728-88F6-C65105D562ED}"/>
          </ac:spMkLst>
        </pc:spChg>
        <pc:spChg chg="add mod">
          <ac:chgData name="Ajwaliya, Nishit" userId="d6171631-3d08-453d-8afd-2dc62a5026e2" providerId="ADAL" clId="{A9041E5D-6FE7-462F-A6BD-52FEE9E40C8D}" dt="2021-07-06T16:15:16.162" v="190" actId="1076"/>
          <ac:spMkLst>
            <pc:docMk/>
            <pc:sldMk cId="4135496317" sldId="2147307523"/>
            <ac:spMk id="66" creationId="{34F5F909-3301-4FFD-A889-34400B468063}"/>
          </ac:spMkLst>
        </pc:spChg>
        <pc:grpChg chg="mod">
          <ac:chgData name="Ajwaliya, Nishit" userId="d6171631-3d08-453d-8afd-2dc62a5026e2" providerId="ADAL" clId="{A9041E5D-6FE7-462F-A6BD-52FEE9E40C8D}" dt="2021-07-06T16:15:32.192" v="195" actId="1076"/>
          <ac:grpSpMkLst>
            <pc:docMk/>
            <pc:sldMk cId="4135496317" sldId="2147307523"/>
            <ac:grpSpMk id="178" creationId="{4EBBA0D8-7FD3-446B-B193-093340CF3635}"/>
          </ac:grpSpMkLst>
        </pc:grpChg>
        <pc:grpChg chg="add del mod">
          <ac:chgData name="Ajwaliya, Nishit" userId="d6171631-3d08-453d-8afd-2dc62a5026e2" providerId="ADAL" clId="{A9041E5D-6FE7-462F-A6BD-52FEE9E40C8D}" dt="2021-07-06T16:20:03.739" v="206" actId="14100"/>
          <ac:grpSpMkLst>
            <pc:docMk/>
            <pc:sldMk cId="4135496317" sldId="2147307523"/>
            <ac:grpSpMk id="179" creationId="{5DDFDE56-145B-49B6-8580-7C48EE1237C4}"/>
          </ac:grpSpMkLst>
        </pc:grpChg>
        <pc:picChg chg="add mod">
          <ac:chgData name="Ajwaliya, Nishit" userId="d6171631-3d08-453d-8afd-2dc62a5026e2" providerId="ADAL" clId="{A9041E5D-6FE7-462F-A6BD-52FEE9E40C8D}" dt="2021-07-06T16:15:14.594" v="189" actId="1076"/>
          <ac:picMkLst>
            <pc:docMk/>
            <pc:sldMk cId="4135496317" sldId="2147307523"/>
            <ac:picMk id="4" creationId="{E058C0FC-F842-481D-A3C6-0178061B6838}"/>
          </ac:picMkLst>
        </pc:picChg>
        <pc:picChg chg="del mod">
          <ac:chgData name="Ajwaliya, Nishit" userId="d6171631-3d08-453d-8afd-2dc62a5026e2" providerId="ADAL" clId="{A9041E5D-6FE7-462F-A6BD-52FEE9E40C8D}" dt="2021-07-06T16:19:40.256" v="200" actId="478"/>
          <ac:picMkLst>
            <pc:docMk/>
            <pc:sldMk cId="4135496317" sldId="2147307523"/>
            <ac:picMk id="8" creationId="{4174DDB8-0430-47E8-BC7B-BF1C06F72B49}"/>
          </ac:picMkLst>
        </pc:picChg>
        <pc:picChg chg="mod">
          <ac:chgData name="Ajwaliya, Nishit" userId="d6171631-3d08-453d-8afd-2dc62a5026e2" providerId="ADAL" clId="{A9041E5D-6FE7-462F-A6BD-52FEE9E40C8D}" dt="2021-07-06T16:15:29.565" v="194" actId="1076"/>
          <ac:picMkLst>
            <pc:docMk/>
            <pc:sldMk cId="4135496317" sldId="2147307523"/>
            <ac:picMk id="17" creationId="{95E33A98-911F-4E86-9560-82FF2CCE0046}"/>
          </ac:picMkLst>
        </pc:picChg>
        <pc:picChg chg="add mod">
          <ac:chgData name="Ajwaliya, Nishit" userId="d6171631-3d08-453d-8afd-2dc62a5026e2" providerId="ADAL" clId="{A9041E5D-6FE7-462F-A6BD-52FEE9E40C8D}" dt="2021-07-06T16:20:59.620" v="221" actId="1038"/>
          <ac:picMkLst>
            <pc:docMk/>
            <pc:sldMk cId="4135496317" sldId="2147307523"/>
            <ac:picMk id="69" creationId="{774B0694-D466-4E6E-B4D8-8F7424B94602}"/>
          </ac:picMkLst>
        </pc:picChg>
        <pc:cxnChg chg="mod">
          <ac:chgData name="Ajwaliya, Nishit" userId="d6171631-3d08-453d-8afd-2dc62a5026e2" providerId="ADAL" clId="{A9041E5D-6FE7-462F-A6BD-52FEE9E40C8D}" dt="2021-07-06T16:16:06.756" v="196" actId="14100"/>
          <ac:cxnSpMkLst>
            <pc:docMk/>
            <pc:sldMk cId="4135496317" sldId="2147307523"/>
            <ac:cxnSpMk id="38" creationId="{7C0EB70B-6930-445F-B586-F5F1A5DC6067}"/>
          </ac:cxnSpMkLst>
        </pc:cxnChg>
        <pc:cxnChg chg="mod">
          <ac:chgData name="Ajwaliya, Nishit" userId="d6171631-3d08-453d-8afd-2dc62a5026e2" providerId="ADAL" clId="{A9041E5D-6FE7-462F-A6BD-52FEE9E40C8D}" dt="2021-07-06T16:14:41.417" v="188" actId="14100"/>
          <ac:cxnSpMkLst>
            <pc:docMk/>
            <pc:sldMk cId="4135496317" sldId="2147307523"/>
            <ac:cxnSpMk id="44" creationId="{9DB6647F-8EF8-4885-82D3-8576E4BF452F}"/>
          </ac:cxnSpMkLst>
        </pc:cxnChg>
        <pc:cxnChg chg="mod">
          <ac:chgData name="Ajwaliya, Nishit" userId="d6171631-3d08-453d-8afd-2dc62a5026e2" providerId="ADAL" clId="{A9041E5D-6FE7-462F-A6BD-52FEE9E40C8D}" dt="2021-07-06T16:16:11.687" v="197" actId="14100"/>
          <ac:cxnSpMkLst>
            <pc:docMk/>
            <pc:sldMk cId="4135496317" sldId="2147307523"/>
            <ac:cxnSpMk id="47" creationId="{726F6EF7-24EC-4713-83EA-E4A1BEAE7EB3}"/>
          </ac:cxnSpMkLst>
        </pc:cxnChg>
        <pc:cxnChg chg="add mod">
          <ac:chgData name="Ajwaliya, Nishit" userId="d6171631-3d08-453d-8afd-2dc62a5026e2" providerId="ADAL" clId="{A9041E5D-6FE7-462F-A6BD-52FEE9E40C8D}" dt="2021-07-06T16:15:14.594" v="189" actId="1076"/>
          <ac:cxnSpMkLst>
            <pc:docMk/>
            <pc:sldMk cId="4135496317" sldId="2147307523"/>
            <ac:cxnSpMk id="53" creationId="{A2B14BC9-B13D-41BF-90A9-5AACC9FEFC70}"/>
          </ac:cxnSpMkLst>
        </pc:cxnChg>
        <pc:cxnChg chg="mod">
          <ac:chgData name="Ajwaliya, Nishit" userId="d6171631-3d08-453d-8afd-2dc62a5026e2" providerId="ADAL" clId="{A9041E5D-6FE7-462F-A6BD-52FEE9E40C8D}" dt="2021-07-06T16:16:06.756" v="196" actId="14100"/>
          <ac:cxnSpMkLst>
            <pc:docMk/>
            <pc:sldMk cId="4135496317" sldId="2147307523"/>
            <ac:cxnSpMk id="54" creationId="{99D8C763-55FD-4D01-AD8B-B337C25940B9}"/>
          </ac:cxnSpMkLst>
        </pc:cxnChg>
        <pc:cxnChg chg="mod">
          <ac:chgData name="Ajwaliya, Nishit" userId="d6171631-3d08-453d-8afd-2dc62a5026e2" providerId="ADAL" clId="{A9041E5D-6FE7-462F-A6BD-52FEE9E40C8D}" dt="2021-07-06T16:16:06.756" v="196" actId="14100"/>
          <ac:cxnSpMkLst>
            <pc:docMk/>
            <pc:sldMk cId="4135496317" sldId="2147307523"/>
            <ac:cxnSpMk id="57" creationId="{C4560087-C750-4BFC-BCDB-75D004E7EA8F}"/>
          </ac:cxnSpMkLst>
        </pc:cxnChg>
        <pc:cxnChg chg="mod">
          <ac:chgData name="Ajwaliya, Nishit" userId="d6171631-3d08-453d-8afd-2dc62a5026e2" providerId="ADAL" clId="{A9041E5D-6FE7-462F-A6BD-52FEE9E40C8D}" dt="2021-07-06T16:16:06.756" v="196" actId="14100"/>
          <ac:cxnSpMkLst>
            <pc:docMk/>
            <pc:sldMk cId="4135496317" sldId="2147307523"/>
            <ac:cxnSpMk id="60" creationId="{3EE15C2D-9AAF-47D9-8AC3-2459D84E63E3}"/>
          </ac:cxnSpMkLst>
        </pc:cxnChg>
        <pc:cxnChg chg="mod">
          <ac:chgData name="Ajwaliya, Nishit" userId="d6171631-3d08-453d-8afd-2dc62a5026e2" providerId="ADAL" clId="{A9041E5D-6FE7-462F-A6BD-52FEE9E40C8D}" dt="2021-07-06T16:16:06.756" v="196" actId="14100"/>
          <ac:cxnSpMkLst>
            <pc:docMk/>
            <pc:sldMk cId="4135496317" sldId="2147307523"/>
            <ac:cxnSpMk id="63" creationId="{85A3428F-302B-41C4-B1C3-9D6ADAB97124}"/>
          </ac:cxnSpMkLst>
        </pc:cxnChg>
        <pc:cxnChg chg="add mod">
          <ac:chgData name="Ajwaliya, Nishit" userId="d6171631-3d08-453d-8afd-2dc62a5026e2" providerId="ADAL" clId="{A9041E5D-6FE7-462F-A6BD-52FEE9E40C8D}" dt="2021-07-06T16:14:37.643" v="187" actId="14100"/>
          <ac:cxnSpMkLst>
            <pc:docMk/>
            <pc:sldMk cId="4135496317" sldId="2147307523"/>
            <ac:cxnSpMk id="68" creationId="{9A25CD39-87AA-441E-B22B-9440C87B3648}"/>
          </ac:cxnSpMkLst>
        </pc:cxnChg>
        <pc:cxnChg chg="mod">
          <ac:chgData name="Ajwaliya, Nishit" userId="d6171631-3d08-453d-8afd-2dc62a5026e2" providerId="ADAL" clId="{A9041E5D-6FE7-462F-A6BD-52FEE9E40C8D}" dt="2021-07-06T16:16:11.687" v="197" actId="14100"/>
          <ac:cxnSpMkLst>
            <pc:docMk/>
            <pc:sldMk cId="4135496317" sldId="2147307523"/>
            <ac:cxnSpMk id="147" creationId="{3ACBC91E-D52E-4802-BD17-2A17E9256E2F}"/>
          </ac:cxnSpMkLst>
        </pc:cxnChg>
        <pc:cxnChg chg="mod">
          <ac:chgData name="Ajwaliya, Nishit" userId="d6171631-3d08-453d-8afd-2dc62a5026e2" providerId="ADAL" clId="{A9041E5D-6FE7-462F-A6BD-52FEE9E40C8D}" dt="2021-07-06T16:14:08.905" v="179" actId="14100"/>
          <ac:cxnSpMkLst>
            <pc:docMk/>
            <pc:sldMk cId="4135496317" sldId="2147307523"/>
            <ac:cxnSpMk id="149" creationId="{6E0D1F6B-61D0-41D0-A511-EFB8201843AB}"/>
          </ac:cxnSpMkLst>
        </pc:cxnChg>
      </pc:sldChg>
      <pc:sldChg chg="addSp delSp modSp">
        <pc:chgData name="Ajwaliya, Nishit" userId="d6171631-3d08-453d-8afd-2dc62a5026e2" providerId="ADAL" clId="{A9041E5D-6FE7-462F-A6BD-52FEE9E40C8D}" dt="2021-07-06T16:33:52.317" v="756" actId="20577"/>
        <pc:sldMkLst>
          <pc:docMk/>
          <pc:sldMk cId="127553332" sldId="2147307526"/>
        </pc:sldMkLst>
        <pc:spChg chg="mod">
          <ac:chgData name="Ajwaliya, Nishit" userId="d6171631-3d08-453d-8afd-2dc62a5026e2" providerId="ADAL" clId="{A9041E5D-6FE7-462F-A6BD-52FEE9E40C8D}" dt="2021-07-06T16:27:55.104" v="480" actId="1035"/>
          <ac:spMkLst>
            <pc:docMk/>
            <pc:sldMk cId="127553332" sldId="2147307526"/>
            <ac:spMk id="7" creationId="{B81D1DD6-C411-4C17-91D7-583D53814FC5}"/>
          </ac:spMkLst>
        </pc:spChg>
        <pc:spChg chg="del">
          <ac:chgData name="Ajwaliya, Nishit" userId="d6171631-3d08-453d-8afd-2dc62a5026e2" providerId="ADAL" clId="{A9041E5D-6FE7-462F-A6BD-52FEE9E40C8D}" dt="2021-07-06T16:27:34.610" v="448" actId="478"/>
          <ac:spMkLst>
            <pc:docMk/>
            <pc:sldMk cId="127553332" sldId="2147307526"/>
            <ac:spMk id="12" creationId="{E0FAB339-2234-4477-A854-E6248C3F98DD}"/>
          </ac:spMkLst>
        </pc:spChg>
        <pc:spChg chg="mod">
          <ac:chgData name="Ajwaliya, Nishit" userId="d6171631-3d08-453d-8afd-2dc62a5026e2" providerId="ADAL" clId="{A9041E5D-6FE7-462F-A6BD-52FEE9E40C8D}" dt="2021-07-06T16:27:46.704" v="462" actId="1035"/>
          <ac:spMkLst>
            <pc:docMk/>
            <pc:sldMk cId="127553332" sldId="2147307526"/>
            <ac:spMk id="14" creationId="{2D58482B-4A81-4E34-BCAE-B57A1B5D6448}"/>
          </ac:spMkLst>
        </pc:spChg>
        <pc:spChg chg="mod">
          <ac:chgData name="Ajwaliya, Nishit" userId="d6171631-3d08-453d-8afd-2dc62a5026e2" providerId="ADAL" clId="{A9041E5D-6FE7-462F-A6BD-52FEE9E40C8D}" dt="2021-07-06T16:32:17.665" v="665" actId="1037"/>
          <ac:spMkLst>
            <pc:docMk/>
            <pc:sldMk cId="127553332" sldId="2147307526"/>
            <ac:spMk id="16" creationId="{FA97D08C-9744-49E5-A4EB-C6C631F8D1DD}"/>
          </ac:spMkLst>
        </pc:spChg>
        <pc:spChg chg="mod">
          <ac:chgData name="Ajwaliya, Nishit" userId="d6171631-3d08-453d-8afd-2dc62a5026e2" providerId="ADAL" clId="{A9041E5D-6FE7-462F-A6BD-52FEE9E40C8D}" dt="2021-07-06T16:28:23.145" v="536" actId="1038"/>
          <ac:spMkLst>
            <pc:docMk/>
            <pc:sldMk cId="127553332" sldId="2147307526"/>
            <ac:spMk id="18" creationId="{3F0161EC-E41B-401D-8238-DFE9CDF9FE2B}"/>
          </ac:spMkLst>
        </pc:spChg>
        <pc:spChg chg="add del">
          <ac:chgData name="Ajwaliya, Nishit" userId="d6171631-3d08-453d-8afd-2dc62a5026e2" providerId="ADAL" clId="{A9041E5D-6FE7-462F-A6BD-52FEE9E40C8D}" dt="2021-07-06T16:24:08.136" v="233"/>
          <ac:spMkLst>
            <pc:docMk/>
            <pc:sldMk cId="127553332" sldId="2147307526"/>
            <ac:spMk id="21" creationId="{EC497794-CE2D-4646-B43E-06BBD854DAB2}"/>
          </ac:spMkLst>
        </pc:spChg>
        <pc:spChg chg="mod">
          <ac:chgData name="Ajwaliya, Nishit" userId="d6171631-3d08-453d-8afd-2dc62a5026e2" providerId="ADAL" clId="{A9041E5D-6FE7-462F-A6BD-52FEE9E40C8D}" dt="2021-07-06T16:22:32.173" v="224" actId="20577"/>
          <ac:spMkLst>
            <pc:docMk/>
            <pc:sldMk cId="127553332" sldId="2147307526"/>
            <ac:spMk id="50" creationId="{1719E35C-3C5E-498D-BFF1-C0D9604E52C1}"/>
          </ac:spMkLst>
        </pc:spChg>
        <pc:spChg chg="mod">
          <ac:chgData name="Ajwaliya, Nishit" userId="d6171631-3d08-453d-8afd-2dc62a5026e2" providerId="ADAL" clId="{A9041E5D-6FE7-462F-A6BD-52FEE9E40C8D}" dt="2021-07-06T16:32:36.057" v="701" actId="1036"/>
          <ac:spMkLst>
            <pc:docMk/>
            <pc:sldMk cId="127553332" sldId="2147307526"/>
            <ac:spMk id="66" creationId="{442174CD-7D1C-4D0F-8E20-31E2BD0D447C}"/>
          </ac:spMkLst>
        </pc:spChg>
        <pc:spChg chg="add mod">
          <ac:chgData name="Ajwaliya, Nishit" userId="d6171631-3d08-453d-8afd-2dc62a5026e2" providerId="ADAL" clId="{A9041E5D-6FE7-462F-A6BD-52FEE9E40C8D}" dt="2021-07-06T16:33:19.906" v="740" actId="1076"/>
          <ac:spMkLst>
            <pc:docMk/>
            <pc:sldMk cId="127553332" sldId="2147307526"/>
            <ac:spMk id="67" creationId="{AB310C7E-A0DA-4F35-A2D2-D0BC1B2D9DF6}"/>
          </ac:spMkLst>
        </pc:spChg>
        <pc:spChg chg="mod">
          <ac:chgData name="Ajwaliya, Nishit" userId="d6171631-3d08-453d-8afd-2dc62a5026e2" providerId="ADAL" clId="{A9041E5D-6FE7-462F-A6BD-52FEE9E40C8D}" dt="2021-07-06T16:32:26.991" v="683" actId="1037"/>
          <ac:spMkLst>
            <pc:docMk/>
            <pc:sldMk cId="127553332" sldId="2147307526"/>
            <ac:spMk id="71" creationId="{C5DBA4DC-0EBA-488F-930C-D51D781C0621}"/>
          </ac:spMkLst>
        </pc:spChg>
        <pc:spChg chg="mod">
          <ac:chgData name="Ajwaliya, Nishit" userId="d6171631-3d08-453d-8afd-2dc62a5026e2" providerId="ADAL" clId="{A9041E5D-6FE7-462F-A6BD-52FEE9E40C8D}" dt="2021-07-06T16:33:00.876" v="737" actId="1038"/>
          <ac:spMkLst>
            <pc:docMk/>
            <pc:sldMk cId="127553332" sldId="2147307526"/>
            <ac:spMk id="73" creationId="{875817E6-969E-4D7A-AE00-4212FF99A5B3}"/>
          </ac:spMkLst>
        </pc:spChg>
        <pc:grpChg chg="mod">
          <ac:chgData name="Ajwaliya, Nishit" userId="d6171631-3d08-453d-8afd-2dc62a5026e2" providerId="ADAL" clId="{A9041E5D-6FE7-462F-A6BD-52FEE9E40C8D}" dt="2021-07-06T16:33:26.301" v="742" actId="14100"/>
          <ac:grpSpMkLst>
            <pc:docMk/>
            <pc:sldMk cId="127553332" sldId="2147307526"/>
            <ac:grpSpMk id="84" creationId="{92BEFA6D-490D-4D7A-A13E-349B66C63BDD}"/>
          </ac:grpSpMkLst>
        </pc:grpChg>
        <pc:graphicFrameChg chg="modGraphic">
          <ac:chgData name="Ajwaliya, Nishit" userId="d6171631-3d08-453d-8afd-2dc62a5026e2" providerId="ADAL" clId="{A9041E5D-6FE7-462F-A6BD-52FEE9E40C8D}" dt="2021-07-06T16:33:52.317" v="756" actId="20577"/>
          <ac:graphicFrameMkLst>
            <pc:docMk/>
            <pc:sldMk cId="127553332" sldId="2147307526"/>
            <ac:graphicFrameMk id="8" creationId="{C2C8CDB3-EBA7-4DE4-AB1F-C7AF7F361AE4}"/>
          </ac:graphicFrameMkLst>
        </pc:graphicFrameChg>
        <pc:picChg chg="mod">
          <ac:chgData name="Ajwaliya, Nishit" userId="d6171631-3d08-453d-8afd-2dc62a5026e2" providerId="ADAL" clId="{A9041E5D-6FE7-462F-A6BD-52FEE9E40C8D}" dt="2021-07-06T16:25:24.148" v="248" actId="1076"/>
          <ac:picMkLst>
            <pc:docMk/>
            <pc:sldMk cId="127553332" sldId="2147307526"/>
            <ac:picMk id="13" creationId="{B10EB891-95D6-4D93-92C0-783FF4218BCC}"/>
          </ac:picMkLst>
        </pc:picChg>
        <pc:picChg chg="mod">
          <ac:chgData name="Ajwaliya, Nishit" userId="d6171631-3d08-453d-8afd-2dc62a5026e2" providerId="ADAL" clId="{A9041E5D-6FE7-462F-A6BD-52FEE9E40C8D}" dt="2021-07-06T16:32:17.665" v="665" actId="1037"/>
          <ac:picMkLst>
            <pc:docMk/>
            <pc:sldMk cId="127553332" sldId="2147307526"/>
            <ac:picMk id="15" creationId="{37F14CBE-6142-4383-9885-4B764EAB81C1}"/>
          </ac:picMkLst>
        </pc:picChg>
        <pc:picChg chg="mod">
          <ac:chgData name="Ajwaliya, Nishit" userId="d6171631-3d08-453d-8afd-2dc62a5026e2" providerId="ADAL" clId="{A9041E5D-6FE7-462F-A6BD-52FEE9E40C8D}" dt="2021-07-06T16:28:23.145" v="536" actId="1038"/>
          <ac:picMkLst>
            <pc:docMk/>
            <pc:sldMk cId="127553332" sldId="2147307526"/>
            <ac:picMk id="17" creationId="{95E33A98-911F-4E86-9560-82FF2CCE0046}"/>
          </ac:picMkLst>
        </pc:picChg>
        <pc:picChg chg="add mod">
          <ac:chgData name="Ajwaliya, Nishit" userId="d6171631-3d08-453d-8afd-2dc62a5026e2" providerId="ADAL" clId="{A9041E5D-6FE7-462F-A6BD-52FEE9E40C8D}" dt="2021-07-06T16:32:23.668" v="673" actId="1037"/>
          <ac:picMkLst>
            <pc:docMk/>
            <pc:sldMk cId="127553332" sldId="2147307526"/>
            <ac:picMk id="41" creationId="{2CA547C3-4233-494F-9918-95167F8738F8}"/>
          </ac:picMkLst>
        </pc:picChg>
        <pc:picChg chg="mod">
          <ac:chgData name="Ajwaliya, Nishit" userId="d6171631-3d08-453d-8afd-2dc62a5026e2" providerId="ADAL" clId="{A9041E5D-6FE7-462F-A6BD-52FEE9E40C8D}" dt="2021-07-06T16:31:43.027" v="616" actId="1037"/>
          <ac:picMkLst>
            <pc:docMk/>
            <pc:sldMk cId="127553332" sldId="2147307526"/>
            <ac:picMk id="68" creationId="{933E4C63-FF4D-4F97-9431-DF06370E455F}"/>
          </ac:picMkLst>
        </pc:picChg>
        <pc:picChg chg="add mod">
          <ac:chgData name="Ajwaliya, Nishit" userId="d6171631-3d08-453d-8afd-2dc62a5026e2" providerId="ADAL" clId="{A9041E5D-6FE7-462F-A6BD-52FEE9E40C8D}" dt="2021-07-06T16:31:37.325" v="592" actId="1037"/>
          <ac:picMkLst>
            <pc:docMk/>
            <pc:sldMk cId="127553332" sldId="2147307526"/>
            <ac:picMk id="75" creationId="{E768AA9F-DCE7-4C3E-BEAB-55EF393F23A9}"/>
          </ac:picMkLst>
        </pc:picChg>
        <pc:picChg chg="add mod">
          <ac:chgData name="Ajwaliya, Nishit" userId="d6171631-3d08-453d-8afd-2dc62a5026e2" providerId="ADAL" clId="{A9041E5D-6FE7-462F-A6BD-52FEE9E40C8D}" dt="2021-07-06T16:33:04.491" v="738" actId="1076"/>
          <ac:picMkLst>
            <pc:docMk/>
            <pc:sldMk cId="127553332" sldId="2147307526"/>
            <ac:picMk id="76" creationId="{94007FB8-AC5B-4118-880C-F01EC9580F14}"/>
          </ac:picMkLst>
        </pc:picChg>
        <pc:picChg chg="add mod">
          <ac:chgData name="Ajwaliya, Nishit" userId="d6171631-3d08-453d-8afd-2dc62a5026e2" providerId="ADAL" clId="{A9041E5D-6FE7-462F-A6BD-52FEE9E40C8D}" dt="2021-07-06T16:32:31.025" v="691" actId="1038"/>
          <ac:picMkLst>
            <pc:docMk/>
            <pc:sldMk cId="127553332" sldId="2147307526"/>
            <ac:picMk id="77" creationId="{276924CC-E6C4-4E38-B65F-5491E13E477D}"/>
          </ac:picMkLst>
        </pc:picChg>
        <pc:cxnChg chg="mod">
          <ac:chgData name="Ajwaliya, Nishit" userId="d6171631-3d08-453d-8afd-2dc62a5026e2" providerId="ADAL" clId="{A9041E5D-6FE7-462F-A6BD-52FEE9E40C8D}" dt="2021-07-06T16:27:55.104" v="480" actId="1035"/>
          <ac:cxnSpMkLst>
            <pc:docMk/>
            <pc:sldMk cId="127553332" sldId="2147307526"/>
            <ac:cxnSpMk id="53" creationId="{14A76C7F-2F5F-49C1-9C54-E8E9A9D9A810}"/>
          </ac:cxnSpMkLst>
        </pc:cxnChg>
        <pc:cxnChg chg="mod">
          <ac:chgData name="Ajwaliya, Nishit" userId="d6171631-3d08-453d-8afd-2dc62a5026e2" providerId="ADAL" clId="{A9041E5D-6FE7-462F-A6BD-52FEE9E40C8D}" dt="2021-07-06T16:33:26.301" v="742" actId="14100"/>
          <ac:cxnSpMkLst>
            <pc:docMk/>
            <pc:sldMk cId="127553332" sldId="2147307526"/>
            <ac:cxnSpMk id="56" creationId="{527C035E-9081-4745-92C0-AF1BA9C6FB5F}"/>
          </ac:cxnSpMkLst>
        </pc:cxnChg>
        <pc:cxnChg chg="add del mod">
          <ac:chgData name="Ajwaliya, Nishit" userId="d6171631-3d08-453d-8afd-2dc62a5026e2" providerId="ADAL" clId="{A9041E5D-6FE7-462F-A6BD-52FEE9E40C8D}" dt="2021-07-06T16:31:43.027" v="616" actId="1037"/>
          <ac:cxnSpMkLst>
            <pc:docMk/>
            <pc:sldMk cId="127553332" sldId="2147307526"/>
            <ac:cxnSpMk id="69" creationId="{5AB22A84-092D-4CFA-97A0-B6291C190471}"/>
          </ac:cxnSpMkLst>
        </pc:cxnChg>
        <pc:cxnChg chg="mod">
          <ac:chgData name="Ajwaliya, Nishit" userId="d6171631-3d08-453d-8afd-2dc62a5026e2" providerId="ADAL" clId="{A9041E5D-6FE7-462F-A6BD-52FEE9E40C8D}" dt="2021-07-06T16:33:15.976" v="739" actId="14100"/>
          <ac:cxnSpMkLst>
            <pc:docMk/>
            <pc:sldMk cId="127553332" sldId="2147307526"/>
            <ac:cxnSpMk id="72" creationId="{93700BB2-7360-454C-876E-D95953727DF4}"/>
          </ac:cxnSpMkLst>
        </pc:cxnChg>
        <pc:cxnChg chg="add mod">
          <ac:chgData name="Ajwaliya, Nishit" userId="d6171631-3d08-453d-8afd-2dc62a5026e2" providerId="ADAL" clId="{A9041E5D-6FE7-462F-A6BD-52FEE9E40C8D}" dt="2021-07-06T16:31:53.751" v="632" actId="14100"/>
          <ac:cxnSpMkLst>
            <pc:docMk/>
            <pc:sldMk cId="127553332" sldId="2147307526"/>
            <ac:cxnSpMk id="74" creationId="{00829B36-FF67-4147-91CC-CD73FC6C7DC9}"/>
          </ac:cxnSpMkLst>
        </pc:cxnChg>
      </pc:sldChg>
      <pc:sldMasterChg chg="delSldLayout">
        <pc:chgData name="Ajwaliya, Nishit" userId="d6171631-3d08-453d-8afd-2dc62a5026e2" providerId="ADAL" clId="{A9041E5D-6FE7-462F-A6BD-52FEE9E40C8D}" dt="2021-07-06T16:41:21.979" v="857" actId="2696"/>
        <pc:sldMasterMkLst>
          <pc:docMk/>
          <pc:sldMasterMk cId="1030417972" sldId="2147483660"/>
        </pc:sldMasterMkLst>
        <pc:sldLayoutChg chg="del">
          <pc:chgData name="Ajwaliya, Nishit" userId="d6171631-3d08-453d-8afd-2dc62a5026e2" providerId="ADAL" clId="{A9041E5D-6FE7-462F-A6BD-52FEE9E40C8D}" dt="2021-07-06T16:41:21.979" v="857" actId="2696"/>
          <pc:sldLayoutMkLst>
            <pc:docMk/>
            <pc:sldMasterMk cId="1030417972" sldId="2147483660"/>
            <pc:sldLayoutMk cId="495864860" sldId="2147483747"/>
          </pc:sldLayoutMkLst>
        </pc:sldLayoutChg>
      </pc:sldMasterChg>
    </pc:docChg>
  </pc:docChgLst>
  <pc:docChgLst>
    <pc:chgData name="Daniel" userId="95cb641d-0e88-4633-8fc4-83037c5aa6c8" providerId="ADAL" clId="{8384AF98-EF35-4750-97E6-12EFBE471E10}"/>
    <pc:docChg chg="undo custSel addSld modSld sldOrd">
      <pc:chgData name="Daniel" userId="95cb641d-0e88-4633-8fc4-83037c5aa6c8" providerId="ADAL" clId="{8384AF98-EF35-4750-97E6-12EFBE471E10}" dt="2021-07-01T14:36:25.335" v="3268" actId="20577"/>
      <pc:docMkLst>
        <pc:docMk/>
      </pc:docMkLst>
      <pc:sldChg chg="ord">
        <pc:chgData name="Daniel" userId="95cb641d-0e88-4633-8fc4-83037c5aa6c8" providerId="ADAL" clId="{8384AF98-EF35-4750-97E6-12EFBE471E10}" dt="2021-07-01T12:25:40.713" v="2418"/>
        <pc:sldMkLst>
          <pc:docMk/>
          <pc:sldMk cId="2905865635" sldId="4096"/>
        </pc:sldMkLst>
      </pc:sldChg>
      <pc:sldChg chg="addSp delSp modSp">
        <pc:chgData name="Daniel" userId="95cb641d-0e88-4633-8fc4-83037c5aa6c8" providerId="ADAL" clId="{8384AF98-EF35-4750-97E6-12EFBE471E10}" dt="2021-07-01T14:36:25.335" v="3268" actId="20577"/>
        <pc:sldMkLst>
          <pc:docMk/>
          <pc:sldMk cId="185651066" sldId="838840198"/>
        </pc:sldMkLst>
        <pc:spChg chg="del mod">
          <ac:chgData name="Daniel" userId="95cb641d-0e88-4633-8fc4-83037c5aa6c8" providerId="ADAL" clId="{8384AF98-EF35-4750-97E6-12EFBE471E10}" dt="2021-07-01T08:42:11.343" v="1106"/>
          <ac:spMkLst>
            <pc:docMk/>
            <pc:sldMk cId="185651066" sldId="838840198"/>
            <ac:spMk id="3" creationId="{6D87E56F-C857-4DAE-8936-7C87D00D4239}"/>
          </ac:spMkLst>
        </pc:spChg>
        <pc:spChg chg="mod">
          <ac:chgData name="Daniel" userId="95cb641d-0e88-4633-8fc4-83037c5aa6c8" providerId="ADAL" clId="{8384AF98-EF35-4750-97E6-12EFBE471E10}" dt="2021-07-01T14:36:25.335" v="3268" actId="20577"/>
          <ac:spMkLst>
            <pc:docMk/>
            <pc:sldMk cId="185651066" sldId="838840198"/>
            <ac:spMk id="6" creationId="{8FBBDC34-12B1-418F-823E-A0B19E6ACFA3}"/>
          </ac:spMkLst>
        </pc:spChg>
        <pc:spChg chg="add del mod">
          <ac:chgData name="Daniel" userId="95cb641d-0e88-4633-8fc4-83037c5aa6c8" providerId="ADAL" clId="{8384AF98-EF35-4750-97E6-12EFBE471E10}" dt="2021-07-01T12:28:27.520" v="2505" actId="478"/>
          <ac:spMkLst>
            <pc:docMk/>
            <pc:sldMk cId="185651066" sldId="838840198"/>
            <ac:spMk id="7" creationId="{895A5AD2-87E1-49EB-A4C4-00EB8DE1A5E0}"/>
          </ac:spMkLst>
        </pc:spChg>
        <pc:spChg chg="mod">
          <ac:chgData name="Daniel" userId="95cb641d-0e88-4633-8fc4-83037c5aa6c8" providerId="ADAL" clId="{8384AF98-EF35-4750-97E6-12EFBE471E10}" dt="2021-07-01T12:28:03.670" v="2500" actId="5793"/>
          <ac:spMkLst>
            <pc:docMk/>
            <pc:sldMk cId="185651066" sldId="838840198"/>
            <ac:spMk id="14" creationId="{538754E0-F034-4569-B53B-33A872030EC2}"/>
          </ac:spMkLst>
        </pc:spChg>
        <pc:picChg chg="add mod">
          <ac:chgData name="Daniel" userId="95cb641d-0e88-4633-8fc4-83037c5aa6c8" providerId="ADAL" clId="{8384AF98-EF35-4750-97E6-12EFBE471E10}" dt="2021-07-01T14:26:43.414" v="2943" actId="14100"/>
          <ac:picMkLst>
            <pc:docMk/>
            <pc:sldMk cId="185651066" sldId="838840198"/>
            <ac:picMk id="5" creationId="{BFD23DB1-3149-48E7-93C1-9545AB0174E1}"/>
          </ac:picMkLst>
        </pc:picChg>
      </pc:sldChg>
      <pc:sldChg chg="modSp">
        <pc:chgData name="Daniel" userId="95cb641d-0e88-4633-8fc4-83037c5aa6c8" providerId="ADAL" clId="{8384AF98-EF35-4750-97E6-12EFBE471E10}" dt="2021-07-01T14:35:16.152" v="3139" actId="20577"/>
        <pc:sldMkLst>
          <pc:docMk/>
          <pc:sldMk cId="1760984849" sldId="838840200"/>
        </pc:sldMkLst>
        <pc:spChg chg="mod">
          <ac:chgData name="Daniel" userId="95cb641d-0e88-4633-8fc4-83037c5aa6c8" providerId="ADAL" clId="{8384AF98-EF35-4750-97E6-12EFBE471E10}" dt="2021-07-01T14:35:16.152" v="3139" actId="20577"/>
          <ac:spMkLst>
            <pc:docMk/>
            <pc:sldMk cId="1760984849" sldId="838840200"/>
            <ac:spMk id="16" creationId="{642D4DBA-35BE-4E67-BFD8-A85ADA2BDE37}"/>
          </ac:spMkLst>
        </pc:spChg>
      </pc:sldChg>
      <pc:sldChg chg="addSp modSp">
        <pc:chgData name="Daniel" userId="95cb641d-0e88-4633-8fc4-83037c5aa6c8" providerId="ADAL" clId="{8384AF98-EF35-4750-97E6-12EFBE471E10}" dt="2021-07-01T12:25:56.349" v="2463" actId="20577"/>
        <pc:sldMkLst>
          <pc:docMk/>
          <pc:sldMk cId="327144497" sldId="838840208"/>
        </pc:sldMkLst>
        <pc:spChg chg="mod">
          <ac:chgData name="Daniel" userId="95cb641d-0e88-4633-8fc4-83037c5aa6c8" providerId="ADAL" clId="{8384AF98-EF35-4750-97E6-12EFBE471E10}" dt="2021-07-01T12:25:56.349" v="2463" actId="20577"/>
          <ac:spMkLst>
            <pc:docMk/>
            <pc:sldMk cId="327144497" sldId="838840208"/>
            <ac:spMk id="2" creationId="{50B15178-A293-4C89-BE37-C0C91B748AD0}"/>
          </ac:spMkLst>
        </pc:spChg>
        <pc:spChg chg="mod">
          <ac:chgData name="Daniel" userId="95cb641d-0e88-4633-8fc4-83037c5aa6c8" providerId="ADAL" clId="{8384AF98-EF35-4750-97E6-12EFBE471E10}" dt="2021-07-01T12:25:36.491" v="2417" actId="20577"/>
          <ac:spMkLst>
            <pc:docMk/>
            <pc:sldMk cId="327144497" sldId="838840208"/>
            <ac:spMk id="5" creationId="{F93D4CA7-EA30-4651-8D6E-5D3E7DA175C4}"/>
          </ac:spMkLst>
        </pc:spChg>
        <pc:spChg chg="add">
          <ac:chgData name="Daniel" userId="95cb641d-0e88-4633-8fc4-83037c5aa6c8" providerId="ADAL" clId="{8384AF98-EF35-4750-97E6-12EFBE471E10}" dt="2021-07-01T08:15:25.780" v="273"/>
          <ac:spMkLst>
            <pc:docMk/>
            <pc:sldMk cId="327144497" sldId="838840208"/>
            <ac:spMk id="6" creationId="{9341D169-075F-4E32-8EB6-67A131067DE4}"/>
          </ac:spMkLst>
        </pc:spChg>
        <pc:spChg chg="add mod">
          <ac:chgData name="Daniel" userId="95cb641d-0e88-4633-8fc4-83037c5aa6c8" providerId="ADAL" clId="{8384AF98-EF35-4750-97E6-12EFBE471E10}" dt="2021-07-01T12:25:14.366" v="2406" actId="948"/>
          <ac:spMkLst>
            <pc:docMk/>
            <pc:sldMk cId="327144497" sldId="838840208"/>
            <ac:spMk id="7" creationId="{34BDE749-F45F-4D9E-8481-55425302A191}"/>
          </ac:spMkLst>
        </pc:spChg>
      </pc:sldChg>
      <pc:sldChg chg="addSp delSp modSp add ord">
        <pc:chgData name="Daniel" userId="95cb641d-0e88-4633-8fc4-83037c5aa6c8" providerId="ADAL" clId="{8384AF98-EF35-4750-97E6-12EFBE471E10}" dt="2021-07-01T14:27:37.447" v="2944"/>
        <pc:sldMkLst>
          <pc:docMk/>
          <pc:sldMk cId="54558304" sldId="2147307520"/>
        </pc:sldMkLst>
        <pc:spChg chg="mod">
          <ac:chgData name="Daniel" userId="95cb641d-0e88-4633-8fc4-83037c5aa6c8" providerId="ADAL" clId="{8384AF98-EF35-4750-97E6-12EFBE471E10}" dt="2021-07-01T09:59:35.718" v="1732" actId="20577"/>
          <ac:spMkLst>
            <pc:docMk/>
            <pc:sldMk cId="54558304" sldId="2147307520"/>
            <ac:spMk id="2" creationId="{C53AC154-8083-4351-B327-08DDEC7E9E2E}"/>
          </ac:spMkLst>
        </pc:spChg>
        <pc:spChg chg="del">
          <ac:chgData name="Daniel" userId="95cb641d-0e88-4633-8fc4-83037c5aa6c8" providerId="ADAL" clId="{8384AF98-EF35-4750-97E6-12EFBE471E10}" dt="2021-07-01T09:59:56.022" v="1733" actId="478"/>
          <ac:spMkLst>
            <pc:docMk/>
            <pc:sldMk cId="54558304" sldId="2147307520"/>
            <ac:spMk id="3" creationId="{FDADE860-CC51-4619-A5A8-2283D8414E02}"/>
          </ac:spMkLst>
        </pc:spChg>
        <pc:spChg chg="add mod">
          <ac:chgData name="Daniel" userId="95cb641d-0e88-4633-8fc4-83037c5aa6c8" providerId="ADAL" clId="{8384AF98-EF35-4750-97E6-12EFBE471E10}" dt="2021-07-01T12:20:53.425" v="2315" actId="1076"/>
          <ac:spMkLst>
            <pc:docMk/>
            <pc:sldMk cId="54558304" sldId="2147307520"/>
            <ac:spMk id="5" creationId="{6DB10EC5-1D60-4976-A45B-66DB6F543E95}"/>
          </ac:spMkLst>
        </pc:spChg>
        <pc:spChg chg="add mod">
          <ac:chgData name="Daniel" userId="95cb641d-0e88-4633-8fc4-83037c5aa6c8" providerId="ADAL" clId="{8384AF98-EF35-4750-97E6-12EFBE471E10}" dt="2021-07-01T12:21:14.539" v="2346" actId="14100"/>
          <ac:spMkLst>
            <pc:docMk/>
            <pc:sldMk cId="54558304" sldId="2147307520"/>
            <ac:spMk id="7" creationId="{D2D7F1D2-BA69-4C17-9AA0-FBC09BD0B28C}"/>
          </ac:spMkLst>
        </pc:spChg>
        <pc:spChg chg="add mod">
          <ac:chgData name="Daniel" userId="95cb641d-0e88-4633-8fc4-83037c5aa6c8" providerId="ADAL" clId="{8384AF98-EF35-4750-97E6-12EFBE471E10}" dt="2021-07-01T12:46:31.771" v="2538" actId="1076"/>
          <ac:spMkLst>
            <pc:docMk/>
            <pc:sldMk cId="54558304" sldId="2147307520"/>
            <ac:spMk id="8" creationId="{14889BC9-74E0-44A4-9538-52D4D5C3D5B7}"/>
          </ac:spMkLst>
        </pc:spChg>
        <pc:spChg chg="add del">
          <ac:chgData name="Daniel" userId="95cb641d-0e88-4633-8fc4-83037c5aa6c8" providerId="ADAL" clId="{8384AF98-EF35-4750-97E6-12EFBE471E10}" dt="2021-07-01T12:15:08.028" v="2106"/>
          <ac:spMkLst>
            <pc:docMk/>
            <pc:sldMk cId="54558304" sldId="2147307520"/>
            <ac:spMk id="9" creationId="{B2645274-23DA-4964-BFE7-4EC0A7DA029B}"/>
          </ac:spMkLst>
        </pc:spChg>
        <pc:spChg chg="add mod">
          <ac:chgData name="Daniel" userId="95cb641d-0e88-4633-8fc4-83037c5aa6c8" providerId="ADAL" clId="{8384AF98-EF35-4750-97E6-12EFBE471E10}" dt="2021-07-01T12:23:11.955" v="2388" actId="14100"/>
          <ac:spMkLst>
            <pc:docMk/>
            <pc:sldMk cId="54558304" sldId="2147307520"/>
            <ac:spMk id="10" creationId="{3132FE44-716F-4E3D-B99C-E6B969601004}"/>
          </ac:spMkLst>
        </pc:spChg>
        <pc:spChg chg="add mod">
          <ac:chgData name="Daniel" userId="95cb641d-0e88-4633-8fc4-83037c5aa6c8" providerId="ADAL" clId="{8384AF98-EF35-4750-97E6-12EFBE471E10}" dt="2021-07-01T12:20:37.421" v="2307" actId="1076"/>
          <ac:spMkLst>
            <pc:docMk/>
            <pc:sldMk cId="54558304" sldId="2147307520"/>
            <ac:spMk id="11" creationId="{45167BDF-D099-415A-AB23-E2DBDD0A2D92}"/>
          </ac:spMkLst>
        </pc:spChg>
        <pc:picChg chg="add mod">
          <ac:chgData name="Daniel" userId="95cb641d-0e88-4633-8fc4-83037c5aa6c8" providerId="ADAL" clId="{8384AF98-EF35-4750-97E6-12EFBE471E10}" dt="2021-07-01T12:46:55.631" v="2546" actId="1076"/>
          <ac:picMkLst>
            <pc:docMk/>
            <pc:sldMk cId="54558304" sldId="2147307520"/>
            <ac:picMk id="6" creationId="{CDC22815-43A8-4126-BBA4-B5DEEBFA0C68}"/>
          </ac:picMkLst>
        </pc:picChg>
        <pc:picChg chg="add del">
          <ac:chgData name="Daniel" userId="95cb641d-0e88-4633-8fc4-83037c5aa6c8" providerId="ADAL" clId="{8384AF98-EF35-4750-97E6-12EFBE471E10}" dt="2021-07-01T12:18:00.213" v="2269" actId="478"/>
          <ac:picMkLst>
            <pc:docMk/>
            <pc:sldMk cId="54558304" sldId="2147307520"/>
            <ac:picMk id="12" creationId="{FAA81FC7-D32C-4E93-AF89-BB3B817DD064}"/>
          </ac:picMkLst>
        </pc:picChg>
        <pc:picChg chg="add del mod">
          <ac:chgData name="Daniel" userId="95cb641d-0e88-4633-8fc4-83037c5aa6c8" providerId="ADAL" clId="{8384AF98-EF35-4750-97E6-12EFBE471E10}" dt="2021-07-01T12:19:41.428" v="2286" actId="478"/>
          <ac:picMkLst>
            <pc:docMk/>
            <pc:sldMk cId="54558304" sldId="2147307520"/>
            <ac:picMk id="13" creationId="{E153E737-99E7-4A06-B7FA-1F8F46274327}"/>
          </ac:picMkLst>
        </pc:picChg>
        <pc:picChg chg="add mod">
          <ac:chgData name="Daniel" userId="95cb641d-0e88-4633-8fc4-83037c5aa6c8" providerId="ADAL" clId="{8384AF98-EF35-4750-97E6-12EFBE471E10}" dt="2021-07-01T12:20:54.626" v="2316" actId="1076"/>
          <ac:picMkLst>
            <pc:docMk/>
            <pc:sldMk cId="54558304" sldId="2147307520"/>
            <ac:picMk id="14" creationId="{065D2195-5028-4497-A068-C90020324687}"/>
          </ac:picMkLst>
        </pc:picChg>
        <pc:picChg chg="add mod">
          <ac:chgData name="Daniel" userId="95cb641d-0e88-4633-8fc4-83037c5aa6c8" providerId="ADAL" clId="{8384AF98-EF35-4750-97E6-12EFBE471E10}" dt="2021-07-01T12:36:19.900" v="2510" actId="1076"/>
          <ac:picMkLst>
            <pc:docMk/>
            <pc:sldMk cId="54558304" sldId="2147307520"/>
            <ac:picMk id="15" creationId="{1621797F-CF4E-4B0B-8F02-57C1E12E04CC}"/>
          </ac:picMkLst>
        </pc:picChg>
        <pc:picChg chg="add mod">
          <ac:chgData name="Daniel" userId="95cb641d-0e88-4633-8fc4-83037c5aa6c8" providerId="ADAL" clId="{8384AF98-EF35-4750-97E6-12EFBE471E10}" dt="2021-07-01T12:38:32.169" v="2514" actId="14100"/>
          <ac:picMkLst>
            <pc:docMk/>
            <pc:sldMk cId="54558304" sldId="2147307520"/>
            <ac:picMk id="16" creationId="{8F483E30-44A4-471D-90FC-11195A9F899C}"/>
          </ac:picMkLst>
        </pc:picChg>
        <pc:picChg chg="add del">
          <ac:chgData name="Daniel" userId="95cb641d-0e88-4633-8fc4-83037c5aa6c8" providerId="ADAL" clId="{8384AF98-EF35-4750-97E6-12EFBE471E10}" dt="2021-07-01T12:21:40.776" v="2348"/>
          <ac:picMkLst>
            <pc:docMk/>
            <pc:sldMk cId="54558304" sldId="2147307520"/>
            <ac:picMk id="17" creationId="{DC2142F2-A462-4E1B-9632-BA1E65D22661}"/>
          </ac:picMkLst>
        </pc:picChg>
        <pc:picChg chg="add mod">
          <ac:chgData name="Daniel" userId="95cb641d-0e88-4633-8fc4-83037c5aa6c8" providerId="ADAL" clId="{8384AF98-EF35-4750-97E6-12EFBE471E10}" dt="2021-07-01T12:38:23.581" v="2513" actId="1076"/>
          <ac:picMkLst>
            <pc:docMk/>
            <pc:sldMk cId="54558304" sldId="2147307520"/>
            <ac:picMk id="18" creationId="{7D9BF028-F32C-41E8-AF28-10EDBA0F10AD}"/>
          </ac:picMkLst>
        </pc:picChg>
        <pc:picChg chg="add mod ord">
          <ac:chgData name="Daniel" userId="95cb641d-0e88-4633-8fc4-83037c5aa6c8" providerId="ADAL" clId="{8384AF98-EF35-4750-97E6-12EFBE471E10}" dt="2021-07-01T12:36:21.260" v="2511" actId="1076"/>
          <ac:picMkLst>
            <pc:docMk/>
            <pc:sldMk cId="54558304" sldId="2147307520"/>
            <ac:picMk id="19" creationId="{FCA6443D-C413-4127-9749-B1FBAA3CB4CA}"/>
          </ac:picMkLst>
        </pc:picChg>
        <pc:picChg chg="add mod">
          <ac:chgData name="Daniel" userId="95cb641d-0e88-4633-8fc4-83037c5aa6c8" providerId="ADAL" clId="{8384AF98-EF35-4750-97E6-12EFBE471E10}" dt="2021-07-01T12:23:29.823" v="2390" actId="1076"/>
          <ac:picMkLst>
            <pc:docMk/>
            <pc:sldMk cId="54558304" sldId="2147307520"/>
            <ac:picMk id="68610" creationId="{BFFB68BF-2611-4426-9882-D33C071B5F1A}"/>
          </ac:picMkLst>
        </pc:picChg>
        <pc:picChg chg="add mod">
          <ac:chgData name="Daniel" userId="95cb641d-0e88-4633-8fc4-83037c5aa6c8" providerId="ADAL" clId="{8384AF98-EF35-4750-97E6-12EFBE471E10}" dt="2021-07-01T12:47:00.656" v="2547" actId="1076"/>
          <ac:picMkLst>
            <pc:docMk/>
            <pc:sldMk cId="54558304" sldId="2147307520"/>
            <ac:picMk id="68612" creationId="{7C5655C8-6F0C-4A1F-BD24-1F5B570918A4}"/>
          </ac:picMkLst>
        </pc:picChg>
      </pc:sldChg>
      <pc:sldChg chg="modSp add">
        <pc:chgData name="Daniel" userId="95cb641d-0e88-4633-8fc4-83037c5aa6c8" providerId="ADAL" clId="{8384AF98-EF35-4750-97E6-12EFBE471E10}" dt="2021-07-01T14:30:48.153" v="3120" actId="20577"/>
        <pc:sldMkLst>
          <pc:docMk/>
          <pc:sldMk cId="20776936" sldId="2147307522"/>
        </pc:sldMkLst>
        <pc:spChg chg="mod">
          <ac:chgData name="Daniel" userId="95cb641d-0e88-4633-8fc4-83037c5aa6c8" providerId="ADAL" clId="{8384AF98-EF35-4750-97E6-12EFBE471E10}" dt="2021-07-01T12:26:14.573" v="2499" actId="20577"/>
          <ac:spMkLst>
            <pc:docMk/>
            <pc:sldMk cId="20776936" sldId="2147307522"/>
            <ac:spMk id="2" creationId="{9E8D3530-3C46-42F1-BFFD-4F4E76CE7F4B}"/>
          </ac:spMkLst>
        </pc:spChg>
        <pc:spChg chg="mod">
          <ac:chgData name="Daniel" userId="95cb641d-0e88-4633-8fc4-83037c5aa6c8" providerId="ADAL" clId="{8384AF98-EF35-4750-97E6-12EFBE471E10}" dt="2021-07-01T14:30:48.153" v="3120" actId="20577"/>
          <ac:spMkLst>
            <pc:docMk/>
            <pc:sldMk cId="20776936" sldId="2147307522"/>
            <ac:spMk id="3" creationId="{858ACEDE-999D-4F23-A303-2191A7653CA0}"/>
          </ac:spMkLst>
        </pc:spChg>
      </pc:sldChg>
    </pc:docChg>
  </pc:docChgLst>
  <pc:docChgLst>
    <pc:chgData name="Ajwaliya, Nishit" userId="S::nishit.ajwaliya@us.nationalgrid.com::d6171631-3d08-453d-8afd-2dc62a5026e2" providerId="AD" clId="Web-{70A00F3E-E0C9-CDD2-CBA9-DD20E3AA88C0}"/>
    <pc:docChg chg="modSld">
      <pc:chgData name="Ajwaliya, Nishit" userId="S::nishit.ajwaliya@us.nationalgrid.com::d6171631-3d08-453d-8afd-2dc62a5026e2" providerId="AD" clId="Web-{70A00F3E-E0C9-CDD2-CBA9-DD20E3AA88C0}" dt="2021-06-30T23:40:13.636" v="1"/>
      <pc:docMkLst>
        <pc:docMk/>
      </pc:docMkLst>
      <pc:sldChg chg="addSp delSp modSp">
        <pc:chgData name="Ajwaliya, Nishit" userId="S::nishit.ajwaliya@us.nationalgrid.com::d6171631-3d08-453d-8afd-2dc62a5026e2" providerId="AD" clId="Web-{70A00F3E-E0C9-CDD2-CBA9-DD20E3AA88C0}" dt="2021-06-30T23:40:13.636" v="1"/>
        <pc:sldMkLst>
          <pc:docMk/>
          <pc:sldMk cId="4170364590" sldId="838840207"/>
        </pc:sldMkLst>
        <pc:picChg chg="add del mod">
          <ac:chgData name="Ajwaliya, Nishit" userId="S::nishit.ajwaliya@us.nationalgrid.com::d6171631-3d08-453d-8afd-2dc62a5026e2" providerId="AD" clId="Web-{70A00F3E-E0C9-CDD2-CBA9-DD20E3AA88C0}" dt="2021-06-30T23:40:13.636" v="1"/>
          <ac:picMkLst>
            <pc:docMk/>
            <pc:sldMk cId="4170364590" sldId="838840207"/>
            <ac:picMk id="4" creationId="{4FB886A9-A827-408E-A89A-12E7B550F6DA}"/>
          </ac:picMkLst>
        </pc:picChg>
      </pc:sldChg>
    </pc:docChg>
  </pc:docChgLst>
  <pc:docChgLst>
    <pc:chgData name="Bharj, Kam" userId="S::kam.bharj@uk.nationalgrid.com::c346c863-01be-4a71-ba36-8d40a81621a7" providerId="AD" clId="Web-{B6D3D9CD-E8F3-D933-63EC-3DE153D843FB}"/>
    <pc:docChg chg="addSld modSld modSection">
      <pc:chgData name="Bharj, Kam" userId="S::kam.bharj@uk.nationalgrid.com::c346c863-01be-4a71-ba36-8d40a81621a7" providerId="AD" clId="Web-{B6D3D9CD-E8F3-D933-63EC-3DE153D843FB}" dt="2021-07-01T14:19:53.248" v="380" actId="14100"/>
      <pc:docMkLst>
        <pc:docMk/>
      </pc:docMkLst>
      <pc:sldChg chg="modSp">
        <pc:chgData name="Bharj, Kam" userId="S::kam.bharj@uk.nationalgrid.com::c346c863-01be-4a71-ba36-8d40a81621a7" providerId="AD" clId="Web-{B6D3D9CD-E8F3-D933-63EC-3DE153D843FB}" dt="2021-07-01T11:51:23.315" v="34" actId="20577"/>
        <pc:sldMkLst>
          <pc:docMk/>
          <pc:sldMk cId="185651066" sldId="838840198"/>
        </pc:sldMkLst>
        <pc:spChg chg="mod">
          <ac:chgData name="Bharj, Kam" userId="S::kam.bharj@uk.nationalgrid.com::c346c863-01be-4a71-ba36-8d40a81621a7" providerId="AD" clId="Web-{B6D3D9CD-E8F3-D933-63EC-3DE153D843FB}" dt="2021-07-01T11:51:23.315" v="34" actId="20577"/>
          <ac:spMkLst>
            <pc:docMk/>
            <pc:sldMk cId="185651066" sldId="838840198"/>
            <ac:spMk id="6" creationId="{8FBBDC34-12B1-418F-823E-A0B19E6ACFA3}"/>
          </ac:spMkLst>
        </pc:spChg>
      </pc:sldChg>
      <pc:sldChg chg="modSp">
        <pc:chgData name="Bharj, Kam" userId="S::kam.bharj@uk.nationalgrid.com::c346c863-01be-4a71-ba36-8d40a81621a7" providerId="AD" clId="Web-{B6D3D9CD-E8F3-D933-63EC-3DE153D843FB}" dt="2021-07-01T12:26:58.043" v="376" actId="20577"/>
        <pc:sldMkLst>
          <pc:docMk/>
          <pc:sldMk cId="1760984849" sldId="838840200"/>
        </pc:sldMkLst>
        <pc:spChg chg="mod">
          <ac:chgData name="Bharj, Kam" userId="S::kam.bharj@uk.nationalgrid.com::c346c863-01be-4a71-ba36-8d40a81621a7" providerId="AD" clId="Web-{B6D3D9CD-E8F3-D933-63EC-3DE153D843FB}" dt="2021-07-01T12:26:58.043" v="376" actId="20577"/>
          <ac:spMkLst>
            <pc:docMk/>
            <pc:sldMk cId="1760984849" sldId="838840200"/>
            <ac:spMk id="16" creationId="{642D4DBA-35BE-4E67-BFD8-A85ADA2BDE37}"/>
          </ac:spMkLst>
        </pc:spChg>
      </pc:sldChg>
      <pc:sldChg chg="modSp">
        <pc:chgData name="Bharj, Kam" userId="S::kam.bharj@uk.nationalgrid.com::c346c863-01be-4a71-ba36-8d40a81621a7" providerId="AD" clId="Web-{B6D3D9CD-E8F3-D933-63EC-3DE153D843FB}" dt="2021-07-01T12:29:51.848" v="378" actId="20577"/>
        <pc:sldMkLst>
          <pc:docMk/>
          <pc:sldMk cId="327144497" sldId="838840208"/>
        </pc:sldMkLst>
        <pc:spChg chg="mod">
          <ac:chgData name="Bharj, Kam" userId="S::kam.bharj@uk.nationalgrid.com::c346c863-01be-4a71-ba36-8d40a81621a7" providerId="AD" clId="Web-{B6D3D9CD-E8F3-D933-63EC-3DE153D843FB}" dt="2021-07-01T12:29:51.848" v="378" actId="20577"/>
          <ac:spMkLst>
            <pc:docMk/>
            <pc:sldMk cId="327144497" sldId="838840208"/>
            <ac:spMk id="7" creationId="{34BDE749-F45F-4D9E-8481-55425302A191}"/>
          </ac:spMkLst>
        </pc:spChg>
      </pc:sldChg>
      <pc:sldChg chg="new">
        <pc:chgData name="Bharj, Kam" userId="S::kam.bharj@uk.nationalgrid.com::c346c863-01be-4a71-ba36-8d40a81621a7" providerId="AD" clId="Web-{B6D3D9CD-E8F3-D933-63EC-3DE153D843FB}" dt="2021-07-01T09:29:49.193" v="0"/>
        <pc:sldMkLst>
          <pc:docMk/>
          <pc:sldMk cId="3793478837" sldId="2147307519"/>
        </pc:sldMkLst>
      </pc:sldChg>
      <pc:sldChg chg="modSp">
        <pc:chgData name="Bharj, Kam" userId="S::kam.bharj@uk.nationalgrid.com::c346c863-01be-4a71-ba36-8d40a81621a7" providerId="AD" clId="Web-{B6D3D9CD-E8F3-D933-63EC-3DE153D843FB}" dt="2021-07-01T14:19:53.248" v="380" actId="14100"/>
        <pc:sldMkLst>
          <pc:docMk/>
          <pc:sldMk cId="54558304" sldId="2147307520"/>
        </pc:sldMkLst>
        <pc:spChg chg="mod">
          <ac:chgData name="Bharj, Kam" userId="S::kam.bharj@uk.nationalgrid.com::c346c863-01be-4a71-ba36-8d40a81621a7" providerId="AD" clId="Web-{B6D3D9CD-E8F3-D933-63EC-3DE153D843FB}" dt="2021-07-01T14:19:53.248" v="380" actId="14100"/>
          <ac:spMkLst>
            <pc:docMk/>
            <pc:sldMk cId="54558304" sldId="2147307520"/>
            <ac:spMk id="7" creationId="{D2D7F1D2-BA69-4C17-9AA0-FBC09BD0B28C}"/>
          </ac:spMkLst>
        </pc:spChg>
      </pc:sldChg>
    </pc:docChg>
  </pc:docChgLst>
  <pc:docChgLst>
    <pc:chgData name="Bharj, Kam" userId="S::kam.bharj@uk.nationalgrid.com::c346c863-01be-4a71-ba36-8d40a81621a7" providerId="AD" clId="Web-{3BBD9E66-7F29-5C62-9E5F-7BB9BC887C0A}"/>
    <pc:docChg chg="modSld">
      <pc:chgData name="Bharj, Kam" userId="S::kam.bharj@uk.nationalgrid.com::c346c863-01be-4a71-ba36-8d40a81621a7" providerId="AD" clId="Web-{3BBD9E66-7F29-5C62-9E5F-7BB9BC887C0A}" dt="2021-06-28T09:58:24.117" v="52" actId="20577"/>
      <pc:docMkLst>
        <pc:docMk/>
      </pc:docMkLst>
      <pc:sldChg chg="modSp">
        <pc:chgData name="Bharj, Kam" userId="S::kam.bharj@uk.nationalgrid.com::c346c863-01be-4a71-ba36-8d40a81621a7" providerId="AD" clId="Web-{3BBD9E66-7F29-5C62-9E5F-7BB9BC887C0A}" dt="2021-06-28T09:58:24.117" v="52" actId="20577"/>
        <pc:sldMkLst>
          <pc:docMk/>
          <pc:sldMk cId="1760984849" sldId="838840200"/>
        </pc:sldMkLst>
        <pc:spChg chg="mod">
          <ac:chgData name="Bharj, Kam" userId="S::kam.bharj@uk.nationalgrid.com::c346c863-01be-4a71-ba36-8d40a81621a7" providerId="AD" clId="Web-{3BBD9E66-7F29-5C62-9E5F-7BB9BC887C0A}" dt="2021-06-28T09:58:24.117" v="52" actId="20577"/>
          <ac:spMkLst>
            <pc:docMk/>
            <pc:sldMk cId="1760984849" sldId="838840200"/>
            <ac:spMk id="16" creationId="{642D4DBA-35BE-4E67-BFD8-A85ADA2BDE37}"/>
          </ac:spMkLst>
        </pc:spChg>
      </pc:sldChg>
    </pc:docChg>
  </pc:docChgLst>
  <pc:docChgLst>
    <pc:chgData name="Senter, Daniel" userId="95cb641d-0e88-4633-8fc4-83037c5aa6c8" providerId="ADAL" clId="{5646A5FD-C087-F54A-950C-8F57B777C5CB}"/>
    <pc:docChg chg="undo custSel delSld modSld sldOrd modSection">
      <pc:chgData name="Senter, Daniel" userId="95cb641d-0e88-4633-8fc4-83037c5aa6c8" providerId="ADAL" clId="{5646A5FD-C087-F54A-950C-8F57B777C5CB}" dt="2021-07-06T16:39:56.860" v="183" actId="1076"/>
      <pc:docMkLst>
        <pc:docMk/>
      </pc:docMkLst>
      <pc:sldChg chg="del">
        <pc:chgData name="Senter, Daniel" userId="95cb641d-0e88-4633-8fc4-83037c5aa6c8" providerId="ADAL" clId="{5646A5FD-C087-F54A-950C-8F57B777C5CB}" dt="2021-07-06T16:38:22.483" v="180" actId="2696"/>
        <pc:sldMkLst>
          <pc:docMk/>
          <pc:sldMk cId="1799875307" sldId="838839872"/>
        </pc:sldMkLst>
      </pc:sldChg>
      <pc:sldChg chg="del">
        <pc:chgData name="Senter, Daniel" userId="95cb641d-0e88-4633-8fc4-83037c5aa6c8" providerId="ADAL" clId="{5646A5FD-C087-F54A-950C-8F57B777C5CB}" dt="2021-07-06T16:38:31.183" v="182" actId="2696"/>
        <pc:sldMkLst>
          <pc:docMk/>
          <pc:sldMk cId="1974710595" sldId="838839874"/>
        </pc:sldMkLst>
      </pc:sldChg>
      <pc:sldChg chg="del">
        <pc:chgData name="Senter, Daniel" userId="95cb641d-0e88-4633-8fc4-83037c5aa6c8" providerId="ADAL" clId="{5646A5FD-C087-F54A-950C-8F57B777C5CB}" dt="2021-07-06T16:38:24.101" v="181" actId="2696"/>
        <pc:sldMkLst>
          <pc:docMk/>
          <pc:sldMk cId="533568231" sldId="838839877"/>
        </pc:sldMkLst>
      </pc:sldChg>
      <pc:sldChg chg="del">
        <pc:chgData name="Senter, Daniel" userId="95cb641d-0e88-4633-8fc4-83037c5aa6c8" providerId="ADAL" clId="{5646A5FD-C087-F54A-950C-8F57B777C5CB}" dt="2021-07-06T16:36:31.209" v="176" actId="2696"/>
        <pc:sldMkLst>
          <pc:docMk/>
          <pc:sldMk cId="185651066" sldId="838840198"/>
        </pc:sldMkLst>
      </pc:sldChg>
      <pc:sldChg chg="ord">
        <pc:chgData name="Senter, Daniel" userId="95cb641d-0e88-4633-8fc4-83037c5aa6c8" providerId="ADAL" clId="{5646A5FD-C087-F54A-950C-8F57B777C5CB}" dt="2021-07-06T16:39:56.860" v="183" actId="1076"/>
        <pc:sldMkLst>
          <pc:docMk/>
          <pc:sldMk cId="1742480203" sldId="838840204"/>
        </pc:sldMkLst>
      </pc:sldChg>
      <pc:sldChg chg="del">
        <pc:chgData name="Senter, Daniel" userId="95cb641d-0e88-4633-8fc4-83037c5aa6c8" providerId="ADAL" clId="{5646A5FD-C087-F54A-950C-8F57B777C5CB}" dt="2021-07-06T16:37:04.175" v="179" actId="2696"/>
        <pc:sldMkLst>
          <pc:docMk/>
          <pc:sldMk cId="4156729493" sldId="838840206"/>
        </pc:sldMkLst>
      </pc:sldChg>
      <pc:sldChg chg="del">
        <pc:chgData name="Senter, Daniel" userId="95cb641d-0e88-4633-8fc4-83037c5aa6c8" providerId="ADAL" clId="{5646A5FD-C087-F54A-950C-8F57B777C5CB}" dt="2021-07-06T16:36:48.656" v="178" actId="2696"/>
        <pc:sldMkLst>
          <pc:docMk/>
          <pc:sldMk cId="4170364590" sldId="838840207"/>
        </pc:sldMkLst>
      </pc:sldChg>
      <pc:sldChg chg="del">
        <pc:chgData name="Senter, Daniel" userId="95cb641d-0e88-4633-8fc4-83037c5aa6c8" providerId="ADAL" clId="{5646A5FD-C087-F54A-950C-8F57B777C5CB}" dt="2021-07-06T16:36:37.345" v="177" actId="2696"/>
        <pc:sldMkLst>
          <pc:docMk/>
          <pc:sldMk cId="327144497" sldId="838840208"/>
        </pc:sldMkLst>
      </pc:sldChg>
      <pc:sldChg chg="delSp modSp">
        <pc:chgData name="Senter, Daniel" userId="95cb641d-0e88-4633-8fc4-83037c5aa6c8" providerId="ADAL" clId="{5646A5FD-C087-F54A-950C-8F57B777C5CB}" dt="2021-07-06T16:33:26.701" v="167" actId="21"/>
        <pc:sldMkLst>
          <pc:docMk/>
          <pc:sldMk cId="4135496317" sldId="2147307523"/>
        </pc:sldMkLst>
        <pc:spChg chg="mod">
          <ac:chgData name="Senter, Daniel" userId="95cb641d-0e88-4633-8fc4-83037c5aa6c8" providerId="ADAL" clId="{5646A5FD-C087-F54A-950C-8F57B777C5CB}" dt="2021-07-06T16:32:13.464" v="110" actId="20577"/>
          <ac:spMkLst>
            <pc:docMk/>
            <pc:sldMk cId="4135496317" sldId="2147307523"/>
            <ac:spMk id="3" creationId="{7E5803AA-C9CD-4891-AD8A-91EF4AE348F8}"/>
          </ac:spMkLst>
        </pc:spChg>
        <pc:spChg chg="del">
          <ac:chgData name="Senter, Daniel" userId="95cb641d-0e88-4633-8fc4-83037c5aa6c8" providerId="ADAL" clId="{5646A5FD-C087-F54A-950C-8F57B777C5CB}" dt="2021-07-06T16:33:26.701" v="167" actId="21"/>
          <ac:spMkLst>
            <pc:docMk/>
            <pc:sldMk cId="4135496317" sldId="2147307523"/>
            <ac:spMk id="21" creationId="{47B18296-2C0C-4BC1-A681-8442B8EFDD64}"/>
          </ac:spMkLst>
        </pc:spChg>
        <pc:spChg chg="mod">
          <ac:chgData name="Senter, Daniel" userId="95cb641d-0e88-4633-8fc4-83037c5aa6c8" providerId="ADAL" clId="{5646A5FD-C087-F54A-950C-8F57B777C5CB}" dt="2021-07-06T16:33:15.599" v="166" actId="20577"/>
          <ac:spMkLst>
            <pc:docMk/>
            <pc:sldMk cId="4135496317" sldId="2147307523"/>
            <ac:spMk id="50" creationId="{887FB771-193A-4AE1-B36C-619F347E44CD}"/>
          </ac:spMkLst>
        </pc:spChg>
        <pc:spChg chg="mod">
          <ac:chgData name="Senter, Daniel" userId="95cb641d-0e88-4633-8fc4-83037c5aa6c8" providerId="ADAL" clId="{5646A5FD-C087-F54A-950C-8F57B777C5CB}" dt="2021-07-06T16:31:18.341" v="1" actId="20577"/>
          <ac:spMkLst>
            <pc:docMk/>
            <pc:sldMk cId="4135496317" sldId="2147307523"/>
            <ac:spMk id="158" creationId="{98E1A3DB-0CF1-47BC-8AB2-ACBC788E1AAC}"/>
          </ac:spMkLst>
        </pc:spChg>
      </pc:sldChg>
      <pc:sldChg chg="modSp">
        <pc:chgData name="Senter, Daniel" userId="95cb641d-0e88-4633-8fc4-83037c5aa6c8" providerId="ADAL" clId="{5646A5FD-C087-F54A-950C-8F57B777C5CB}" dt="2021-07-06T16:34:03.863" v="175" actId="20577"/>
        <pc:sldMkLst>
          <pc:docMk/>
          <pc:sldMk cId="824225204" sldId="2147307525"/>
        </pc:sldMkLst>
        <pc:spChg chg="mod">
          <ac:chgData name="Senter, Daniel" userId="95cb641d-0e88-4633-8fc4-83037c5aa6c8" providerId="ADAL" clId="{5646A5FD-C087-F54A-950C-8F57B777C5CB}" dt="2021-07-06T16:33:51.381" v="169" actId="1076"/>
          <ac:spMkLst>
            <pc:docMk/>
            <pc:sldMk cId="824225204" sldId="2147307525"/>
            <ac:spMk id="12" creationId="{6C680E7F-3871-4AEB-9C11-7CDF8FFE0191}"/>
          </ac:spMkLst>
        </pc:spChg>
        <pc:spChg chg="mod">
          <ac:chgData name="Senter, Daniel" userId="95cb641d-0e88-4633-8fc4-83037c5aa6c8" providerId="ADAL" clId="{5646A5FD-C087-F54A-950C-8F57B777C5CB}" dt="2021-07-06T16:34:03.863" v="175" actId="20577"/>
          <ac:spMkLst>
            <pc:docMk/>
            <pc:sldMk cId="824225204" sldId="2147307525"/>
            <ac:spMk id="65" creationId="{E8F26A96-8340-40B2-AA4C-806D65C46EB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5A27A-6EA2-4247-8810-D750F1BBF5D8}" type="datetimeFigureOut">
              <a:rPr lang="en-GB" smtClean="0"/>
              <a:t>06/07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68BE9-0187-4CAA-AA93-9EC207E638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055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296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794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1789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579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342900" indent="-342900">
              <a:buAutoNum type="arabicPeriod"/>
            </a:pPr>
            <a:r>
              <a:rPr lang="en-US"/>
              <a:t>Bottom-up view of enabling Data Capabilities in support of prioritized business capabilities</a:t>
            </a:r>
          </a:p>
          <a:p>
            <a:pPr marL="609539" lvl="1" indent="0">
              <a:buNone/>
            </a:pPr>
            <a:r>
              <a:rPr lang="en-US"/>
              <a:t>- Iterative approach to building out capabilities incrementally though data enablement – Clean data available and  under management - Master Data managed under MDM and both Master and Transaction Data Available within the Data Hub </a:t>
            </a:r>
          </a:p>
          <a:p>
            <a:pPr marL="342900" indent="-342900">
              <a:buAutoNum type="arabicPeriod"/>
            </a:pPr>
            <a:r>
              <a:rPr lang="en-US"/>
              <a:t>Business Capabilities sequencing and timelines are still subject to Top-Down Analysis under the Program Governance &amp; Alignment and Technology Solutioning Towers (taking place over the next 3-4 months, but subject to funding)</a:t>
            </a:r>
          </a:p>
          <a:p>
            <a:pPr marL="0" indent="0">
              <a:buNone/>
            </a:pPr>
            <a:r>
              <a:rPr lang="en-US"/>
              <a:t>                - Programs need to re-align priorities and release plan, cross-program gaps and dependencies need to be revisited and programs must be funded and resourced accordingly.  This is especially impacted by program gaps in CRM and Automated  </a:t>
            </a:r>
          </a:p>
          <a:p>
            <a:pPr marL="0" indent="0">
              <a:buNone/>
            </a:pPr>
            <a:r>
              <a:rPr lang="en-US"/>
              <a:t>                  Marketing capabilities </a:t>
            </a: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US"/>
              <a:t>                -  Note: </a:t>
            </a:r>
            <a:r>
              <a:rPr lang="en-US" sz="1600" b="0">
                <a:solidFill>
                  <a:schemeClr val="tx1"/>
                </a:solidFill>
              </a:rPr>
              <a:t>CRM and Marketing Automation Completes in Dec 2022</a:t>
            </a:r>
            <a:endParaRPr lang="en-US"/>
          </a:p>
          <a:p>
            <a:pPr marL="342900" indent="-342900">
              <a:buAutoNum type="arabicPeriod" startAt="3"/>
            </a:pPr>
            <a:r>
              <a:rPr lang="en-US"/>
              <a:t>Timelines for many of the required business capabilities extend beyond May-2022 which are being driving by process and tech changes</a:t>
            </a:r>
          </a:p>
          <a:p>
            <a:pPr marL="342900" indent="-342900">
              <a:buAutoNum type="arabicPeriod" startAt="3"/>
            </a:pPr>
            <a:r>
              <a:rPr lang="en-US"/>
              <a:t>Some Capabilities that the Blueprint suggests will be dependent on a step change in platform can begin to be enabled by a Step change in data (e.g. Billing Insights).  Other such as (New Service Connect) will obviously be clearly be dependent on AMI service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442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268BE9-0187-4CAA-AA93-9EC207E638B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282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52852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3" y="3382041"/>
            <a:ext cx="3365500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497028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9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5423" y="6034998"/>
            <a:ext cx="3362896" cy="399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9655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471991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48567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2182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8448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712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67595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427036460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0456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647123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084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8" y="3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4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1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337565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8" y="2909035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83419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C8C29B5-0459-44E2-893D-68F8D6DE68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7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pic>
        <p:nvPicPr>
          <p:cNvPr id="10" name="Picture 2" descr="A picture containing sky, outdoor, water sport, swimming&#10;&#10;Description automatically generated">
            <a:extLst>
              <a:ext uri="{FF2B5EF4-FFF2-40B4-BE49-F238E27FC236}">
                <a16:creationId xmlns:a16="http://schemas.microsoft.com/office/drawing/2014/main" id="{68EADA17-8BD7-4AD0-94C2-B3D8B34FFD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36" y="-1"/>
            <a:ext cx="12203836" cy="6858001"/>
          </a:xfrm>
          <a:prstGeom prst="rect">
            <a:avLst/>
          </a:prstGeom>
        </p:spPr>
      </p:pic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1001" y="5216095"/>
            <a:ext cx="3630930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1798322"/>
            <a:ext cx="5751674" cy="3261358"/>
          </a:xfrm>
        </p:spPr>
        <p:txBody>
          <a:bodyPr lIns="0" tIns="0" rIns="0" bIns="0" anchor="ctr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 spc="-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is is a</a:t>
            </a:r>
            <a:br>
              <a:rPr lang="en-US"/>
            </a:br>
            <a:r>
              <a:rPr lang="en-US"/>
              <a:t>Headline</a:t>
            </a:r>
            <a:br>
              <a:rPr lang="en-US"/>
            </a:br>
            <a:r>
              <a:rPr lang="en-US"/>
              <a:t>This is a Subhead</a:t>
            </a:r>
            <a:endParaRPr lang="en-AU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B5B98C87-D6DD-4595-B803-BF96BBC33CC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13155" y="381000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E3F49AE-1B53-455E-8566-60AA2FC40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AB6B5F75-01DA-4901-AD9D-7C6B0F3B9C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8351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1000" y="1763713"/>
            <a:ext cx="114300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 marL="182875">
              <a:defRPr lang="en-US" sz="1600" dirty="0" smtClean="0"/>
            </a:lvl2pPr>
            <a:lvl3pPr marL="365751"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16703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/>
          <a:lstStyle>
            <a:lvl1pPr>
              <a:lnSpc>
                <a:spcPct val="80000"/>
              </a:lnSpc>
              <a:defRPr sz="5400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513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FBAE40"/>
          </p15:clr>
        </p15:guide>
        <p15:guide id="2" pos="374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35"/>
          <p:cNvGrpSpPr/>
          <p:nvPr userDrawn="1"/>
        </p:nvGrpSpPr>
        <p:grpSpPr>
          <a:xfrm>
            <a:off x="1828800" y="1676821"/>
            <a:ext cx="4105275" cy="4190699"/>
            <a:chOff x="336907" y="342900"/>
            <a:chExt cx="2298344" cy="2346169"/>
          </a:xfrm>
        </p:grpSpPr>
        <p:sp>
          <p:nvSpPr>
            <p:cNvPr id="6" name="Freeform 12"/>
            <p:cNvSpPr>
              <a:spLocks/>
            </p:cNvSpPr>
            <p:nvPr userDrawn="1"/>
          </p:nvSpPr>
          <p:spPr bwMode="auto">
            <a:xfrm>
              <a:off x="336907" y="1283172"/>
              <a:ext cx="2298344" cy="1405897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 userDrawn="1"/>
          </p:nvSpPr>
          <p:spPr bwMode="auto">
            <a:xfrm>
              <a:off x="336907" y="342900"/>
              <a:ext cx="2298344" cy="1412213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 anchor="ctr" anchorCtr="0"/>
          <a:lstStyle>
            <a:lvl1pPr>
              <a:lnSpc>
                <a:spcPct val="80000"/>
              </a:lnSpc>
              <a:defRPr sz="54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1199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13"/>
            <a:ext cx="5553075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50676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29"/>
            <a:ext cx="3547493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256657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18828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3664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  <p15:guide id="2" pos="2479">
          <p15:clr>
            <a:srgbClr val="FBAE40"/>
          </p15:clr>
        </p15:guide>
        <p15:guide id="3" pos="4974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337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810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392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865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368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5586">
          <p15:clr>
            <a:srgbClr val="FBAE40"/>
          </p15:clr>
        </p15:guide>
        <p15:guide id="4" pos="5813">
          <p15:clr>
            <a:srgbClr val="FBAE40"/>
          </p15:clr>
        </p15:guide>
        <p15:guide id="5" pos="2094">
          <p15:clr>
            <a:srgbClr val="FBAE40"/>
          </p15:clr>
        </p15:guide>
        <p15:guide id="6" pos="186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0121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22268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5" name="Picture 4" hidden="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351571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gradFill>
          <a:gsLst>
            <a:gs pos="0">
              <a:schemeClr val="accent3"/>
            </a:gs>
            <a:gs pos="100000">
              <a:schemeClr val="accent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7181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bg>
      <p:bgPr>
        <a:gradFill>
          <a:gsLst>
            <a:gs pos="100000">
              <a:schemeClr val="accent1"/>
            </a:gs>
            <a:gs pos="64000">
              <a:schemeClr val="accent3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899D8A-FE23-4DC1-8812-EA427C1B1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899D8A-FE23-4DC1-8812-EA427C1B1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A6284F9-4365-4306-A46C-5FAB997F5F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719880"/>
            <a:ext cx="9955742" cy="1151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49358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2443699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8804" y="6546469"/>
            <a:ext cx="770951" cy="138499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5A5A5A"/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60000" y="6546469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5A5A5A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8643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4D1AAF-D369-4DD1-852D-5D66A17C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1343024"/>
          </a:xfrm>
        </p:spPr>
        <p:txBody>
          <a:bodyPr tIns="0" anchor="b" anchorCtr="0">
            <a:noAutofit/>
          </a:bodyPr>
          <a:lstStyle>
            <a:lvl1pPr>
              <a:lnSpc>
                <a:spcPct val="80000"/>
              </a:lnSpc>
              <a:defRPr sz="3200">
                <a:solidFill>
                  <a:srgbClr val="7E00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34ABF8-6417-4266-85FB-7678EEDC22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343025"/>
            <a:ext cx="11430000" cy="512445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None/>
              <a:defRPr sz="1800" b="0" cap="none">
                <a:latin typeface="+mj-lt"/>
              </a:defRPr>
            </a:lvl1pPr>
            <a:lvl2pPr marL="1619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2pPr>
            <a:lvl3pPr marL="352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3pPr>
            <a:lvl4pPr marL="5810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4pPr>
            <a:lvl5pPr marL="733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6568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A03F2D7-2EF8-452B-B7E7-ECCBE59810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808163"/>
            <a:ext cx="11430000" cy="43576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30795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1626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opyright ©2018 Accenture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2742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451000" y="65256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E1D7AC9-097A-C748-9CAF-0866184825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979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5F1FE0-C522-4A6E-9169-282B3139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092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5F1FE0-C522-4A6E-9169-282B3139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AF954D-A8B5-45A8-B252-B4A5F33237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41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769492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B99C89-D81F-4096-9B0D-074C8C854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113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B99C89-D81F-4096-9B0D-074C8C854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EB1089-C912-46BF-BF90-738A542E5C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40251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737585-BAE7-4EF3-B6A4-D54E5E98A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820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737585-BAE7-4EF3-B6A4-D54E5E98A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22DF0B-34FC-41FF-A525-CC056CFC22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9798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935762-4394-48C3-90D0-57F2BC328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87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935762-4394-48C3-90D0-57F2BC328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26C035-212C-48C8-A759-D72AC24022F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827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441B29-FD32-4D5E-87D7-C2BF45979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07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441B29-FD32-4D5E-87D7-C2BF45979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FD49C5-8334-46EA-9817-324120800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42352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2C5F47-1F00-4FDA-BA0E-A1B49D2ED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82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2C5F47-1F00-4FDA-BA0E-A1B49D2ED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20C6BF-CFFC-4D92-B428-054F2FB1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4511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152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Black">
    <p:bg>
      <p:bgPr>
        <a:solidFill>
          <a:srgbClr val="710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571500"/>
            <a:ext cx="8572500" cy="29718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 spc="-1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543300"/>
            <a:ext cx="8572501" cy="3162300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spcAft>
                <a:spcPts val="600"/>
              </a:spcAft>
              <a:defRPr sz="4400" b="0" spc="-150" baseline="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defRPr sz="4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defRPr sz="2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None/>
              <a:defRPr sz="20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7pPr>
              <a:defRPr b="1"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 err="1"/>
              <a:t>fIrst</a:t>
            </a:r>
            <a:r>
              <a:rPr lang="en-US"/>
              <a:t>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49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C8FDB24-DF8F-4ACC-9487-5B599DD4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5">
            <a:extLst>
              <a:ext uri="{FF2B5EF4-FFF2-40B4-BE49-F238E27FC236}">
                <a16:creationId xmlns:a16="http://schemas.microsoft.com/office/drawing/2014/main" id="{F0D011F8-5DD5-49BB-8B51-5066959FD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9A7E7AF2-3963-4B36-A6FC-0A394B8B1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535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2716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0135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46440307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67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375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28BD2D4-1074-48E5-B298-9D0D7BA2922A}" type="datetime1">
              <a:rPr lang="en-US">
                <a:solidFill>
                  <a:srgbClr val="000000"/>
                </a:solidFill>
              </a:rPr>
              <a:pPr>
                <a:defRPr/>
              </a:pPr>
              <a:t>7/6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2C5EFB-4D23-4208-8647-3E7A700FE29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3970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1.emf"/><Relationship Id="rId10" Type="http://schemas.openxmlformats.org/officeDocument/2006/relationships/slideLayout" Target="../slideLayouts/slideLayout3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4.emf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03041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745" r:id="rId9"/>
    <p:sldLayoutId id="2147483746" r:id="rId10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270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425" imgH="426" progId="TCLayout.ActiveDocument.1">
                  <p:embed/>
                </p:oleObj>
              </mc:Choice>
              <mc:Fallback>
                <p:oleObj name="think-cell Folie" r:id="rId22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D46ED98-0623-47E6-9825-23D46E43767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63713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81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7106"/>
            <a:r>
              <a:rPr lang="en-US">
                <a:solidFill>
                  <a:srgbClr val="919191"/>
                </a:solidFill>
              </a:rPr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2300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 cap="all" baseline="0">
          <a:solidFill>
            <a:schemeClr val="accent3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7715E0-5BB1-41A4-9224-1A3DEB59D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3597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7715E0-5BB1-41A4-9224-1A3DEB59D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C646FF-B4AE-4ABA-BC44-1E567697D54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19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843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notesSlide" Target="../notesSlides/notesSlide5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image" Target="../media/image46.pn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8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5.png"/><Relationship Id="rId18" Type="http://schemas.openxmlformats.org/officeDocument/2006/relationships/image" Target="../media/image33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8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sv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19" Type="http://schemas.openxmlformats.org/officeDocument/2006/relationships/image" Target="../media/image34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>
            <a:normAutofit/>
          </a:bodyPr>
          <a:lstStyle/>
          <a:p>
            <a:r>
              <a:rPr lang="en-US"/>
              <a:t>Workforce </a:t>
            </a:r>
            <a:br>
              <a:rPr lang="en-US"/>
            </a:br>
            <a:r>
              <a:rPr lang="en-US"/>
              <a:t>Systems of Record</a:t>
            </a:r>
            <a:endParaRPr lang="en-GB" sz="32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467400"/>
            <a:ext cx="5378452" cy="1231107"/>
          </a:xfrm>
        </p:spPr>
        <p:txBody>
          <a:bodyPr>
            <a:normAutofit/>
          </a:bodyPr>
          <a:lstStyle/>
          <a:p>
            <a:r>
              <a:rPr lang="en-US"/>
              <a:t>Presentation to Andi Karabout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0A597B-644B-487B-895A-1E82DC57470D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005B2-3512-4AD4-BA08-567DC24E4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uture State Architectur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780C6EA-05B5-4DCA-90F8-A37CA5BEB1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1"/>
          <a:stretch/>
        </p:blipFill>
        <p:spPr bwMode="auto">
          <a:xfrm>
            <a:off x="1930364" y="951069"/>
            <a:ext cx="8329844" cy="495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C781E0F-358F-4BBA-8BD2-DDC5D503158F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95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tangle 260">
            <a:extLst>
              <a:ext uri="{FF2B5EF4-FFF2-40B4-BE49-F238E27FC236}">
                <a16:creationId xmlns:a16="http://schemas.microsoft.com/office/drawing/2014/main" id="{C97E4443-00D8-445E-88F0-59AF6CF609DB}"/>
              </a:ext>
            </a:extLst>
          </p:cNvPr>
          <p:cNvSpPr/>
          <p:nvPr/>
        </p:nvSpPr>
        <p:spPr>
          <a:xfrm>
            <a:off x="10273738" y="270535"/>
            <a:ext cx="1817593" cy="28713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wrap="square" lIns="121920" tIns="0" rIns="0" bIns="0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C800A1">
                    <a:lumMod val="60000"/>
                    <a:lumOff val="40000"/>
                  </a:srgbClr>
                </a:solidFill>
                <a:latin typeface="Arial"/>
                <a:ea typeface="ＭＳ Ｐゴシック"/>
              </a:rPr>
              <a:t>IAM </a:t>
            </a:r>
          </a:p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00AFF0"/>
                </a:solidFill>
                <a:latin typeface="Arial"/>
                <a:ea typeface="ＭＳ Ｐゴシック"/>
              </a:rPr>
              <a:t>Workforce Data Domain (WDD)</a:t>
            </a:r>
            <a:endParaRPr lang="en-US" sz="933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CA45006-2609-44FB-A183-311DEE2661C9}"/>
              </a:ext>
            </a:extLst>
          </p:cNvPr>
          <p:cNvSpPr txBox="1"/>
          <p:nvPr/>
        </p:nvSpPr>
        <p:spPr bwMode="auto">
          <a:xfrm>
            <a:off x="10255812" y="120462"/>
            <a:ext cx="1359346" cy="14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933">
                <a:solidFill>
                  <a:srgbClr val="55555A"/>
                </a:solidFill>
                <a:latin typeface="Arial"/>
                <a:ea typeface="ＭＳ Ｐゴシック"/>
              </a:rPr>
              <a:t>Delivery / Value Streams:</a:t>
            </a:r>
          </a:p>
        </p:txBody>
      </p:sp>
      <p:sp>
        <p:nvSpPr>
          <p:cNvPr id="85" name="OTLSHAPE_SL_f6ffadc9780a4f3ab22a7e53bade919d_BackgroundRectangle">
            <a:extLst>
              <a:ext uri="{FF2B5EF4-FFF2-40B4-BE49-F238E27FC236}">
                <a16:creationId xmlns:a16="http://schemas.microsoft.com/office/drawing/2014/main" id="{58B7720C-BF08-4AEE-BE09-226A0766CD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1557" y="5421374"/>
            <a:ext cx="11953095" cy="779209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6" name="OTLSHAPE_SL_f6ffadc9780a4f3ab22a7e53bade919d_BackgroundRectangle">
            <a:extLst>
              <a:ext uri="{FF2B5EF4-FFF2-40B4-BE49-F238E27FC236}">
                <a16:creationId xmlns:a16="http://schemas.microsoft.com/office/drawing/2014/main" id="{23E89D2D-6E3A-4930-94FB-9A41F46C75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8363" y="4637647"/>
            <a:ext cx="11953095" cy="754260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7" name="OTLSHAPE_SLT_e8a0d0690d7843edaca796e8b25719da_Shape">
            <a:extLst>
              <a:ext uri="{FF2B5EF4-FFF2-40B4-BE49-F238E27FC236}">
                <a16:creationId xmlns:a16="http://schemas.microsoft.com/office/drawing/2014/main" id="{66DCC5A3-3370-4055-B4D2-BD637B47D6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4350" y="4800446"/>
            <a:ext cx="11953093" cy="152823"/>
          </a:xfrm>
          <a:prstGeom prst="homePlate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 MDM/DQ/DG</a:t>
            </a:r>
          </a:p>
        </p:txBody>
      </p:sp>
      <p:sp>
        <p:nvSpPr>
          <p:cNvPr id="88" name="OTLSHAPE_SLT_e8a0d0690d7843edaca796e8b25719da_Shape">
            <a:extLst>
              <a:ext uri="{FF2B5EF4-FFF2-40B4-BE49-F238E27FC236}">
                <a16:creationId xmlns:a16="http://schemas.microsoft.com/office/drawing/2014/main" id="{EE28E206-2224-4825-91D0-F72341AC6F3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4350" y="5594408"/>
            <a:ext cx="11953093" cy="168259"/>
          </a:xfrm>
          <a:prstGeom prst="homePlat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CDP (Snowflake)</a:t>
            </a:r>
          </a:p>
        </p:txBody>
      </p:sp>
      <p:sp>
        <p:nvSpPr>
          <p:cNvPr id="89" name="OTLSHAPE_SLM_0aec949068fc4edb9016a17022f2fa0f_Title">
            <a:extLst>
              <a:ext uri="{FF2B5EF4-FFF2-40B4-BE49-F238E27FC236}">
                <a16:creationId xmlns:a16="http://schemas.microsoft.com/office/drawing/2014/main" id="{564FC827-9F84-47B9-85BD-64944536BA3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915365" y="4640194"/>
            <a:ext cx="870876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Calibri" panose="020F0502020204030204" pitchFamily="34" charset="0"/>
                <a:ea typeface="ＭＳ Ｐゴシック"/>
              </a:rPr>
              <a:t>Pre-work</a:t>
            </a:r>
          </a:p>
        </p:txBody>
      </p:sp>
      <p:sp>
        <p:nvSpPr>
          <p:cNvPr id="91" name="OTLSHAPE_SLM_0aec949068fc4edb9016a17022f2fa0f_Shape">
            <a:extLst>
              <a:ext uri="{FF2B5EF4-FFF2-40B4-BE49-F238E27FC236}">
                <a16:creationId xmlns:a16="http://schemas.microsoft.com/office/drawing/2014/main" id="{46022D4B-E9CE-4FC8-868F-65DA66BF89F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276311" y="479659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3" name="OTLSHAPE_SLM_0aec949068fc4edb9016a17022f2fa0f_Shape">
            <a:extLst>
              <a:ext uri="{FF2B5EF4-FFF2-40B4-BE49-F238E27FC236}">
                <a16:creationId xmlns:a16="http://schemas.microsoft.com/office/drawing/2014/main" id="{0A6B3A5E-9C47-48DD-BE68-2D214E3270D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996224" y="5586757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4" name="OTLSHAPE_SL_f6ffadc9780a4f3ab22a7e53bade919d_BackgroundRectangle">
            <a:extLst>
              <a:ext uri="{FF2B5EF4-FFF2-40B4-BE49-F238E27FC236}">
                <a16:creationId xmlns:a16="http://schemas.microsoft.com/office/drawing/2014/main" id="{2299157D-A076-46A3-BD41-6DAEFE145D5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8039" y="2006429"/>
            <a:ext cx="11913632" cy="2583023"/>
          </a:xfrm>
          <a:prstGeom prst="rect">
            <a:avLst/>
          </a:prstGeom>
          <a:solidFill>
            <a:schemeClr val="accent4">
              <a:lumMod val="60000"/>
              <a:lumOff val="40000"/>
              <a:alpha val="9804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12CA404-6760-4856-B524-FC7EB8EFB4B2}"/>
              </a:ext>
            </a:extLst>
          </p:cNvPr>
          <p:cNvCxnSpPr>
            <a:cxnSpLocks/>
            <a:stCxn id="96" idx="2"/>
            <a:endCxn id="170" idx="2"/>
          </p:cNvCxnSpPr>
          <p:nvPr/>
        </p:nvCxnSpPr>
        <p:spPr bwMode="auto">
          <a:xfrm>
            <a:off x="8279632" y="1489572"/>
            <a:ext cx="26877" cy="42709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OTLSHAPE_SLM_0aec949068fc4edb9016a17022f2fa0f_Title">
            <a:extLst>
              <a:ext uri="{FF2B5EF4-FFF2-40B4-BE49-F238E27FC236}">
                <a16:creationId xmlns:a16="http://schemas.microsoft.com/office/drawing/2014/main" id="{22D62F15-0863-4255-B34F-50EE6B8E38F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693706" y="1325360"/>
            <a:ext cx="1171852" cy="16421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3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F02C180-CD4F-4FD3-A882-D51501373911}"/>
              </a:ext>
            </a:extLst>
          </p:cNvPr>
          <p:cNvCxnSpPr>
            <a:cxnSpLocks/>
            <a:stCxn id="100" idx="2"/>
          </p:cNvCxnSpPr>
          <p:nvPr/>
        </p:nvCxnSpPr>
        <p:spPr bwMode="auto">
          <a:xfrm>
            <a:off x="3516117" y="1640581"/>
            <a:ext cx="37393" cy="38250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OTLSHAPE_SLM_0aec949068fc4edb9016a17022f2fa0f_Title">
            <a:extLst>
              <a:ext uri="{FF2B5EF4-FFF2-40B4-BE49-F238E27FC236}">
                <a16:creationId xmlns:a16="http://schemas.microsoft.com/office/drawing/2014/main" id="{C1B1957A-29B6-412E-B4A7-62E95C9DF44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079492" y="1302025"/>
            <a:ext cx="873249" cy="3385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endParaRPr lang="en-US" sz="1067" spc="-3">
              <a:solidFill>
                <a:srgbClr val="55555A"/>
              </a:solidFill>
              <a:latin typeface="Arial"/>
              <a:ea typeface="ＭＳ Ｐゴシック"/>
            </a:endParaRP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1)</a:t>
            </a:r>
          </a:p>
        </p:txBody>
      </p:sp>
      <p:sp>
        <p:nvSpPr>
          <p:cNvPr id="103" name="OTLSHAPE_SLM_0aec949068fc4edb9016a17022f2fa0f_Title">
            <a:extLst>
              <a:ext uri="{FF2B5EF4-FFF2-40B4-BE49-F238E27FC236}">
                <a16:creationId xmlns:a16="http://schemas.microsoft.com/office/drawing/2014/main" id="{62324F70-0F3D-49E7-BDAD-AE0AF4C7464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89888" y="1269380"/>
            <a:ext cx="963221" cy="38654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2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3)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BA1214A6-3BEC-4558-A81D-F66A686FB901}"/>
              </a:ext>
            </a:extLst>
          </p:cNvPr>
          <p:cNvCxnSpPr>
            <a:cxnSpLocks/>
            <a:stCxn id="108" idx="2"/>
          </p:cNvCxnSpPr>
          <p:nvPr/>
        </p:nvCxnSpPr>
        <p:spPr bwMode="auto">
          <a:xfrm>
            <a:off x="4986710" y="1630306"/>
            <a:ext cx="78700" cy="41302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OTLSHAPE_SLM_0aec949068fc4edb9016a17022f2fa0f_Title">
            <a:extLst>
              <a:ext uri="{FF2B5EF4-FFF2-40B4-BE49-F238E27FC236}">
                <a16:creationId xmlns:a16="http://schemas.microsoft.com/office/drawing/2014/main" id="{D5409082-9816-41A2-B697-E40378C12BB3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493672" y="1285067"/>
            <a:ext cx="986075" cy="3452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MVP Release 1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933" spc="-3">
                <a:solidFill>
                  <a:srgbClr val="55555A"/>
                </a:solidFill>
                <a:latin typeface="Arial"/>
                <a:ea typeface="ＭＳ Ｐゴシック"/>
              </a:rPr>
              <a:t>(WDD Phase 2)</a:t>
            </a:r>
          </a:p>
        </p:txBody>
      </p:sp>
      <p:sp>
        <p:nvSpPr>
          <p:cNvPr id="109" name="OTLSHAPE_SLT_e8a0d0690d7843edaca796e8b25719da_Shape">
            <a:extLst>
              <a:ext uri="{FF2B5EF4-FFF2-40B4-BE49-F238E27FC236}">
                <a16:creationId xmlns:a16="http://schemas.microsoft.com/office/drawing/2014/main" id="{2953D0EA-F607-44B6-856D-D89D1279B2A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0330" y="1810131"/>
            <a:ext cx="11904321" cy="165015"/>
          </a:xfrm>
          <a:prstGeom prst="homePlate">
            <a:avLst/>
          </a:pr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buClr>
                <a:srgbClr val="55555A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ata Integration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4285F70D-BE35-4862-8B85-ECD56571645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85898" y="2032910"/>
            <a:ext cx="189572" cy="186247"/>
          </a:xfrm>
          <a:prstGeom prst="rect">
            <a:avLst/>
          </a:prstGeom>
        </p:spPr>
      </p:pic>
      <p:sp>
        <p:nvSpPr>
          <p:cNvPr id="113" name="OTLSHAPE_SLM_0aec949068fc4edb9016a17022f2fa0f_Shape">
            <a:extLst>
              <a:ext uri="{FF2B5EF4-FFF2-40B4-BE49-F238E27FC236}">
                <a16:creationId xmlns:a16="http://schemas.microsoft.com/office/drawing/2014/main" id="{491ECB5D-8302-494E-AEB2-7DA0C35521A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91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5EC633B8-A309-4EC8-937A-E1ED19D56A67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179279" y="2032910"/>
            <a:ext cx="189572" cy="186247"/>
          </a:xfrm>
          <a:prstGeom prst="rect">
            <a:avLst/>
          </a:prstGeom>
        </p:spPr>
      </p:pic>
      <p:sp>
        <p:nvSpPr>
          <p:cNvPr id="115" name="OTLSHAPE_SLM_0aec949068fc4edb9016a17022f2fa0f_Shape">
            <a:extLst>
              <a:ext uri="{FF2B5EF4-FFF2-40B4-BE49-F238E27FC236}">
                <a16:creationId xmlns:a16="http://schemas.microsoft.com/office/drawing/2014/main" id="{8C261054-4FB8-4296-A678-EBBD47B83F8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203009" y="19343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18437E3F-E6BA-4617-B993-2FAE817ED94C}"/>
              </a:ext>
            </a:extLst>
          </p:cNvPr>
          <p:cNvSpPr/>
          <p:nvPr/>
        </p:nvSpPr>
        <p:spPr>
          <a:xfrm>
            <a:off x="16179" y="1202270"/>
            <a:ext cx="788742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40">
              <a:buClr>
                <a:srgbClr val="55555A"/>
              </a:buClr>
              <a:defRPr/>
            </a:pPr>
            <a:r>
              <a:rPr lang="en-US" sz="1067" spc="-3">
                <a:solidFill>
                  <a:srgbClr val="55555A"/>
                </a:solidFill>
                <a:latin typeface="Arial"/>
                <a:ea typeface="ＭＳ Ｐゴシック"/>
              </a:rPr>
              <a:t>Releases:</a:t>
            </a:r>
            <a:endParaRPr lang="en-US" sz="1067">
              <a:solidFill>
                <a:srgbClr val="00148C"/>
              </a:solidFill>
              <a:latin typeface="Arial"/>
              <a:ea typeface="ＭＳ Ｐゴシック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C931BD4D-C8DC-4673-9960-C02E0473235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1159170" y="2020947"/>
            <a:ext cx="189572" cy="186247"/>
          </a:xfrm>
          <a:prstGeom prst="rect">
            <a:avLst/>
          </a:prstGeom>
        </p:spPr>
      </p:pic>
      <p:sp>
        <p:nvSpPr>
          <p:cNvPr id="118" name="OTLSHAPE_SLM_0aec949068fc4edb9016a17022f2fa0f_Shape">
            <a:extLst>
              <a:ext uri="{FF2B5EF4-FFF2-40B4-BE49-F238E27FC236}">
                <a16:creationId xmlns:a16="http://schemas.microsoft.com/office/drawing/2014/main" id="{0875427D-EB51-40AA-8C1B-ECB45D96B17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84169" y="1922364"/>
            <a:ext cx="152400" cy="177800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19" name="OTLSHAPE_SLM_0aec949068fc4edb9016a17022f2fa0f_Shape">
            <a:extLst>
              <a:ext uri="{FF2B5EF4-FFF2-40B4-BE49-F238E27FC236}">
                <a16:creationId xmlns:a16="http://schemas.microsoft.com/office/drawing/2014/main" id="{051689E2-F393-4C0C-9FC1-2E1D2E1D6C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984512" y="4806192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148D4FFA-184E-4726-B439-AD125DC9E550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421554" y="2049619"/>
            <a:ext cx="189572" cy="186247"/>
          </a:xfrm>
          <a:prstGeom prst="rect">
            <a:avLst/>
          </a:prstGeom>
        </p:spPr>
      </p:pic>
      <p:sp>
        <p:nvSpPr>
          <p:cNvPr id="121" name="OTLSHAPE_SLM_0aec949068fc4edb9016a17022f2fa0f_Shape">
            <a:extLst>
              <a:ext uri="{FF2B5EF4-FFF2-40B4-BE49-F238E27FC236}">
                <a16:creationId xmlns:a16="http://schemas.microsoft.com/office/drawing/2014/main" id="{D3069606-8E64-4DEB-BC9B-B81B417532A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445285" y="19510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8E17E5B1-FE00-489C-9BB2-D47F15BC4394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174003" y="2028161"/>
            <a:ext cx="189572" cy="186247"/>
          </a:xfrm>
          <a:prstGeom prst="rect">
            <a:avLst/>
          </a:prstGeom>
        </p:spPr>
      </p:pic>
      <p:sp>
        <p:nvSpPr>
          <p:cNvPr id="123" name="OTLSHAPE_SLM_0aec949068fc4edb9016a17022f2fa0f_Shape">
            <a:extLst>
              <a:ext uri="{FF2B5EF4-FFF2-40B4-BE49-F238E27FC236}">
                <a16:creationId xmlns:a16="http://schemas.microsoft.com/office/drawing/2014/main" id="{B70E7539-752A-4C29-B2E6-EA78A1CC005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199000" y="192957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24" name="OTLSHAPE_SLM_0aec949068fc4edb9016a17022f2fa0f_Title">
            <a:extLst>
              <a:ext uri="{FF2B5EF4-FFF2-40B4-BE49-F238E27FC236}">
                <a16:creationId xmlns:a16="http://schemas.microsoft.com/office/drawing/2014/main" id="{73A84B22-1080-47FE-9B1D-039C82035D7D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852310" y="4980578"/>
            <a:ext cx="135116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</a:t>
            </a:r>
          </a:p>
        </p:txBody>
      </p:sp>
      <p:sp>
        <p:nvSpPr>
          <p:cNvPr id="125" name="OTLSHAPE_SLM_0aec949068fc4edb9016a17022f2fa0f_Title">
            <a:extLst>
              <a:ext uri="{FF2B5EF4-FFF2-40B4-BE49-F238E27FC236}">
                <a16:creationId xmlns:a16="http://schemas.microsoft.com/office/drawing/2014/main" id="{8E5A4A7D-A880-4B79-94C4-57097CA52A34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591787" y="4991266"/>
            <a:ext cx="1527887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Data Governance 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Rules/Requirement</a:t>
            </a:r>
          </a:p>
        </p:txBody>
      </p:sp>
      <p:sp>
        <p:nvSpPr>
          <p:cNvPr id="128" name="OTLSHAPE_SLM_0aec949068fc4edb9016a17022f2fa0f_Title">
            <a:extLst>
              <a:ext uri="{FF2B5EF4-FFF2-40B4-BE49-F238E27FC236}">
                <a16:creationId xmlns:a16="http://schemas.microsoft.com/office/drawing/2014/main" id="{4392698E-D3D0-4511-AAD9-590930A3BA3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351203" y="4969924"/>
            <a:ext cx="1444004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 Worker Persistent ID (leverage Tactical IAM MDM) , Key Worker &amp; </a:t>
            </a: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sition </a:t>
            </a: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s, </a:t>
            </a:r>
            <a:endParaRPr lang="en-US" sz="800" spc="-3">
              <a:solidFill>
                <a:srgbClr val="55555A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OTLSHAPE_SLM_0aec949068fc4edb9016a17022f2fa0f_Title">
            <a:extLst>
              <a:ext uri="{FF2B5EF4-FFF2-40B4-BE49-F238E27FC236}">
                <a16:creationId xmlns:a16="http://schemas.microsoft.com/office/drawing/2014/main" id="{2CDBE013-8DE1-456F-AA83-2DBC8522E6F2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510405" y="5781468"/>
            <a:ext cx="110198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DM Worker </a:t>
            </a: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istent ID, Key worker fields, Position </a:t>
            </a:r>
            <a:r>
              <a:rPr lang="en-US" sz="800" spc="-3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30" name="OTLSHAPE_SLM_0aec949068fc4edb9016a17022f2fa0f_Title">
            <a:extLst>
              <a:ext uri="{FF2B5EF4-FFF2-40B4-BE49-F238E27FC236}">
                <a16:creationId xmlns:a16="http://schemas.microsoft.com/office/drawing/2014/main" id="{12AF9E59-0931-4484-BD1E-B778914187C3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746861" y="5784951"/>
            <a:ext cx="158835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DM Org hierarchy, Cost Center, Location, Union, Legal Entity,</a:t>
            </a:r>
          </a:p>
          <a:p>
            <a:pPr algn="ctr" defTabSz="1088211">
              <a:defRPr/>
            </a:pP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, Work order Data Sync</a:t>
            </a:r>
          </a:p>
        </p:txBody>
      </p:sp>
      <p:sp>
        <p:nvSpPr>
          <p:cNvPr id="134" name="OTLSHAPE_SLM_0aec949068fc4edb9016a17022f2fa0f_Title">
            <a:extLst>
              <a:ext uri="{FF2B5EF4-FFF2-40B4-BE49-F238E27FC236}">
                <a16:creationId xmlns:a16="http://schemas.microsoft.com/office/drawing/2014/main" id="{630FF13C-04CF-4292-8284-E0977FB6E5B1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635013" y="5785115"/>
            <a:ext cx="1334688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F  </a:t>
            </a:r>
            <a:r>
              <a:rPr lang="en-US" sz="800" spc="-3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, Competencies,</a:t>
            </a:r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formance Measure </a:t>
            </a:r>
            <a:r>
              <a:rPr lang="en-US" sz="800" spc="-3">
                <a:solidFill>
                  <a:srgbClr val="55555A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ata Sync</a:t>
            </a:r>
          </a:p>
        </p:txBody>
      </p:sp>
      <p:sp>
        <p:nvSpPr>
          <p:cNvPr id="151" name="OTLSHAPE_SLM_0aec949068fc4edb9016a17022f2fa0f_Title">
            <a:extLst>
              <a:ext uri="{FF2B5EF4-FFF2-40B4-BE49-F238E27FC236}">
                <a16:creationId xmlns:a16="http://schemas.microsoft.com/office/drawing/2014/main" id="{462158B7-509E-49DD-97DD-F8998B883356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602283" y="2242815"/>
            <a:ext cx="1287327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AM Tactical MDM Solution with Unique </a:t>
            </a: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er Persistent ID </a:t>
            </a:r>
            <a:endParaRPr lang="en-US" sz="800">
              <a:solidFill>
                <a:srgbClr val="C800A1">
                  <a:lumMod val="60000"/>
                  <a:lumOff val="40000"/>
                </a:srgbClr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CA6D242-BDDC-40D6-91DE-750F5A4CC991}"/>
              </a:ext>
            </a:extLst>
          </p:cNvPr>
          <p:cNvSpPr/>
          <p:nvPr/>
        </p:nvSpPr>
        <p:spPr>
          <a:xfrm>
            <a:off x="2812041" y="2176253"/>
            <a:ext cx="14430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Impact analysis of ~140 workforce interface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0FC4415-DE21-4150-9DDA-E87EB66D3459}"/>
              </a:ext>
            </a:extLst>
          </p:cNvPr>
          <p:cNvSpPr/>
          <p:nvPr/>
        </p:nvSpPr>
        <p:spPr>
          <a:xfrm>
            <a:off x="2888273" y="4092033"/>
            <a:ext cx="12974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MDM and CDP detail</a:t>
            </a:r>
          </a:p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Roadmap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BC10F2F-3AA3-403D-B736-7E2C9DF821AD}"/>
              </a:ext>
            </a:extLst>
          </p:cNvPr>
          <p:cNvSpPr/>
          <p:nvPr/>
        </p:nvSpPr>
        <p:spPr>
          <a:xfrm>
            <a:off x="1691585" y="2197934"/>
            <a:ext cx="1194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Deep dive Integration issu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5E8606D-6BBE-4D72-8A89-F887978C8248}"/>
              </a:ext>
            </a:extLst>
          </p:cNvPr>
          <p:cNvSpPr/>
          <p:nvPr/>
        </p:nvSpPr>
        <p:spPr>
          <a:xfrm>
            <a:off x="2816087" y="2545657"/>
            <a:ext cx="14164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Consolidated systems and interfaces  Architecture View </a:t>
            </a: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D9540C8-AD87-4075-B827-952001AF80D6}"/>
              </a:ext>
            </a:extLst>
          </p:cNvPr>
          <p:cNvCxnSpPr>
            <a:cxnSpLocks/>
          </p:cNvCxnSpPr>
          <p:nvPr/>
        </p:nvCxnSpPr>
        <p:spPr bwMode="auto">
          <a:xfrm>
            <a:off x="6449129" y="1655930"/>
            <a:ext cx="61676" cy="411639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tangle 159">
            <a:extLst>
              <a:ext uri="{FF2B5EF4-FFF2-40B4-BE49-F238E27FC236}">
                <a16:creationId xmlns:a16="http://schemas.microsoft.com/office/drawing/2014/main" id="{6B5E7E98-2777-4F9B-B8DD-7A9DBE8C156D}"/>
              </a:ext>
            </a:extLst>
          </p:cNvPr>
          <p:cNvSpPr/>
          <p:nvPr/>
        </p:nvSpPr>
        <p:spPr>
          <a:xfrm>
            <a:off x="2883163" y="3055426"/>
            <a:ext cx="1297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Enterprise data model and data glossary in ER/Studio</a:t>
            </a: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40AE57C9-0344-4A5C-BA32-15030DD77003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366741" y="2020926"/>
            <a:ext cx="189572" cy="186247"/>
          </a:xfrm>
          <a:prstGeom prst="rect">
            <a:avLst/>
          </a:prstGeom>
        </p:spPr>
      </p:pic>
      <p:sp>
        <p:nvSpPr>
          <p:cNvPr id="164" name="OTLSHAPE_SLM_0aec949068fc4edb9016a17022f2fa0f_Shape">
            <a:extLst>
              <a:ext uri="{FF2B5EF4-FFF2-40B4-BE49-F238E27FC236}">
                <a16:creationId xmlns:a16="http://schemas.microsoft.com/office/drawing/2014/main" id="{6DEA526F-2898-401F-863A-D1AF5EC8F55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6390471" y="1922341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5" name="OTLSHAPE_SLM_0aec949068fc4edb9016a17022f2fa0f_Title">
            <a:extLst>
              <a:ext uri="{FF2B5EF4-FFF2-40B4-BE49-F238E27FC236}">
                <a16:creationId xmlns:a16="http://schemas.microsoft.com/office/drawing/2014/main" id="{EF51F17A-54C5-4AE9-AE69-216B878AA657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3149427" y="4994428"/>
            <a:ext cx="81298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 spc="-3">
                <a:solidFill>
                  <a:srgbClr val="55555A"/>
                </a:solidFill>
                <a:latin typeface="Arial"/>
                <a:ea typeface="ＭＳ Ｐゴシック"/>
                <a:cs typeface="Calibri"/>
              </a:rPr>
              <a:t>Data Catalog, DQ Program</a:t>
            </a:r>
            <a:endParaRPr lang="en-US" sz="800" spc="-3">
              <a:solidFill>
                <a:srgbClr val="55555A"/>
              </a:solidFill>
              <a:latin typeface="Arial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68" name="OTLSHAPE_SLM_0aec949068fc4edb9016a17022f2fa0f_Shape">
            <a:extLst>
              <a:ext uri="{FF2B5EF4-FFF2-40B4-BE49-F238E27FC236}">
                <a16:creationId xmlns:a16="http://schemas.microsoft.com/office/drawing/2014/main" id="{52C275A8-C855-4943-A866-47019F02860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3475196" y="4772636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9" name="OTLSHAPE_SLM_0aec949068fc4edb9016a17022f2fa0f_Shape">
            <a:extLst>
              <a:ext uri="{FF2B5EF4-FFF2-40B4-BE49-F238E27FC236}">
                <a16:creationId xmlns:a16="http://schemas.microsoft.com/office/drawing/2014/main" id="{60F02E9D-D05E-4602-8ADE-5426A178ED1F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456975" y="559452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0" name="OTLSHAPE_SLM_0aec949068fc4edb9016a17022f2fa0f_Shape">
            <a:extLst>
              <a:ext uri="{FF2B5EF4-FFF2-40B4-BE49-F238E27FC236}">
                <a16:creationId xmlns:a16="http://schemas.microsoft.com/office/drawing/2014/main" id="{80AD804F-CA8D-4BE8-BE55-95A7AE303465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8230309" y="5582715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1" name="OTLSHAPE_SLM_0aec949068fc4edb9016a17022f2fa0f_Shape">
            <a:extLst>
              <a:ext uri="{FF2B5EF4-FFF2-40B4-BE49-F238E27FC236}">
                <a16:creationId xmlns:a16="http://schemas.microsoft.com/office/drawing/2014/main" id="{1ECB4C3A-0DCD-466E-85DF-E7E4BFBB754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31896" y="4797580"/>
            <a:ext cx="152400" cy="177800"/>
          </a:xfrm>
          <a:prstGeom prst="diamond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buClr>
                <a:srgbClr val="55555A"/>
              </a:buClr>
              <a:defRPr/>
            </a:pPr>
            <a:endParaRPr lang="en-US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60C9837-0337-4839-A736-A0DA26A59A56}"/>
              </a:ext>
            </a:extLst>
          </p:cNvPr>
          <p:cNvSpPr/>
          <p:nvPr/>
        </p:nvSpPr>
        <p:spPr>
          <a:xfrm>
            <a:off x="4231614" y="2639462"/>
            <a:ext cx="15521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ntegration improvements to Downstream systems are driven from Golden Record recommendations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6EF18D1-B090-48AF-A816-131E9640B124}"/>
              </a:ext>
            </a:extLst>
          </p:cNvPr>
          <p:cNvSpPr/>
          <p:nvPr/>
        </p:nvSpPr>
        <p:spPr>
          <a:xfrm>
            <a:off x="4236522" y="3219865"/>
            <a:ext cx="15521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KPIs and information ready to be consumed in a consistent approach (use of a CDP solution). 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F9A8353-56FF-4398-AA1E-6C70BFAA9642}"/>
              </a:ext>
            </a:extLst>
          </p:cNvPr>
          <p:cNvSpPr/>
          <p:nvPr/>
        </p:nvSpPr>
        <p:spPr>
          <a:xfrm>
            <a:off x="4260563" y="379997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BC23775-FE39-462E-B293-6BEC3BF0DF04}"/>
              </a:ext>
            </a:extLst>
          </p:cNvPr>
          <p:cNvSpPr/>
          <p:nvPr/>
        </p:nvSpPr>
        <p:spPr>
          <a:xfrm>
            <a:off x="4210867" y="4141815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A23F34D0-9BFA-4831-B871-C4A55CDD64C7}"/>
              </a:ext>
            </a:extLst>
          </p:cNvPr>
          <p:cNvSpPr/>
          <p:nvPr/>
        </p:nvSpPr>
        <p:spPr>
          <a:xfrm>
            <a:off x="5710371" y="2602953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43D94BB-C307-414A-9B88-FCEEE9026B6B}"/>
              </a:ext>
            </a:extLst>
          </p:cNvPr>
          <p:cNvSpPr/>
          <p:nvPr/>
        </p:nvSpPr>
        <p:spPr>
          <a:xfrm>
            <a:off x="5701097" y="2986410"/>
            <a:ext cx="1651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E07B6FD-43E3-4FA0-8963-A1A55D1B4ED9}"/>
              </a:ext>
            </a:extLst>
          </p:cNvPr>
          <p:cNvSpPr/>
          <p:nvPr/>
        </p:nvSpPr>
        <p:spPr>
          <a:xfrm>
            <a:off x="7512688" y="2183748"/>
            <a:ext cx="1552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Implementation of data integration improvements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FAC2A76-68A9-4223-BA6D-EEB3F734F81F}"/>
              </a:ext>
            </a:extLst>
          </p:cNvPr>
          <p:cNvSpPr/>
          <p:nvPr/>
        </p:nvSpPr>
        <p:spPr>
          <a:xfrm>
            <a:off x="7400834" y="2568277"/>
            <a:ext cx="17960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</a:pPr>
            <a:r>
              <a:rPr lang="en-GB" sz="800">
                <a:solidFill>
                  <a:srgbClr val="00AFF0"/>
                </a:solidFill>
                <a:latin typeface="Arial"/>
                <a:ea typeface="ＭＳ Ｐゴシック"/>
              </a:rPr>
              <a:t>Alignment  with Data Governance as an enabler for levels of communication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62871BFF-17C3-4025-A94E-A11801DCD712}"/>
              </a:ext>
            </a:extLst>
          </p:cNvPr>
          <p:cNvSpPr/>
          <p:nvPr/>
        </p:nvSpPr>
        <p:spPr>
          <a:xfrm>
            <a:off x="2847127" y="3548711"/>
            <a:ext cx="13959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00AFF0"/>
                </a:solidFill>
                <a:latin typeface="Arial"/>
                <a:ea typeface="ＭＳ Ｐゴシック"/>
              </a:rPr>
              <a:t>Data Linage &amp; Data Glossary in Informatica Data Catalog tool</a:t>
            </a:r>
          </a:p>
        </p:txBody>
      </p:sp>
      <p:sp>
        <p:nvSpPr>
          <p:cNvPr id="189" name="OTLSHAPE_SLM_0aec949068fc4edb9016a17022f2fa0f_Title">
            <a:extLst>
              <a:ext uri="{FF2B5EF4-FFF2-40B4-BE49-F238E27FC236}">
                <a16:creationId xmlns:a16="http://schemas.microsoft.com/office/drawing/2014/main" id="{C88D507E-CD29-4CB6-BAB8-24B3D1664B9F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5920324" y="2210898"/>
            <a:ext cx="1144309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ransition  and retire  IAM Interim MDM Solution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B9C48391-D516-4B99-9594-2AABB5CA0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137" y="142485"/>
            <a:ext cx="11842703" cy="50259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/>
              <a:t>Workforce Data Domain Proposed Roadmap (Draft)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21EC70C-5342-4A33-BCF1-291E49A50ABD}"/>
              </a:ext>
            </a:extLst>
          </p:cNvPr>
          <p:cNvSpPr/>
          <p:nvPr/>
        </p:nvSpPr>
        <p:spPr>
          <a:xfrm>
            <a:off x="818457" y="1031579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B3D620A-8CB3-4820-95E0-4C8002CD2BAB}"/>
              </a:ext>
            </a:extLst>
          </p:cNvPr>
          <p:cNvSpPr/>
          <p:nvPr/>
        </p:nvSpPr>
        <p:spPr>
          <a:xfrm>
            <a:off x="262752" y="1030697"/>
            <a:ext cx="534721" cy="251675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FC6D5AD-037E-45E6-99D3-7EABEBB0A762}"/>
              </a:ext>
            </a:extLst>
          </p:cNvPr>
          <p:cNvSpPr txBox="1"/>
          <p:nvPr/>
        </p:nvSpPr>
        <p:spPr bwMode="auto">
          <a:xfrm flipH="1">
            <a:off x="262749" y="737811"/>
            <a:ext cx="4826849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/>
              <a:t>2021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AD76B765-BC7D-4449-ADC6-3EEBC2FD3093}"/>
              </a:ext>
            </a:extLst>
          </p:cNvPr>
          <p:cNvSpPr/>
          <p:nvPr/>
        </p:nvSpPr>
        <p:spPr>
          <a:xfrm>
            <a:off x="1965679" y="1028514"/>
            <a:ext cx="608621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40C00B8-4E69-40B8-9564-1AD1951C71F6}"/>
              </a:ext>
            </a:extLst>
          </p:cNvPr>
          <p:cNvSpPr/>
          <p:nvPr/>
        </p:nvSpPr>
        <p:spPr>
          <a:xfrm>
            <a:off x="1375687" y="1031202"/>
            <a:ext cx="559160" cy="245173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B6B909B-E542-4F5F-A56C-FAF78A99BCA1}"/>
              </a:ext>
            </a:extLst>
          </p:cNvPr>
          <p:cNvSpPr/>
          <p:nvPr/>
        </p:nvSpPr>
        <p:spPr>
          <a:xfrm>
            <a:off x="4476372" y="1027844"/>
            <a:ext cx="608621" cy="24338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3EB7719E-8674-43A8-8886-38FD1C3569F8}"/>
              </a:ext>
            </a:extLst>
          </p:cNvPr>
          <p:cNvSpPr/>
          <p:nvPr/>
        </p:nvSpPr>
        <p:spPr>
          <a:xfrm>
            <a:off x="3841218" y="1029668"/>
            <a:ext cx="608621" cy="24909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4E574EF-8163-40B1-8415-B7AF1116807F}"/>
              </a:ext>
            </a:extLst>
          </p:cNvPr>
          <p:cNvSpPr/>
          <p:nvPr/>
        </p:nvSpPr>
        <p:spPr>
          <a:xfrm>
            <a:off x="5123440" y="1028155"/>
            <a:ext cx="534721" cy="24290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an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E0EB145-F508-47BC-B133-BCBC583F398D}"/>
              </a:ext>
            </a:extLst>
          </p:cNvPr>
          <p:cNvSpPr txBox="1"/>
          <p:nvPr/>
        </p:nvSpPr>
        <p:spPr bwMode="auto">
          <a:xfrm flipH="1">
            <a:off x="5123439" y="738941"/>
            <a:ext cx="6783488" cy="225767"/>
          </a:xfrm>
          <a:prstGeom prst="rect">
            <a:avLst/>
          </a:prstGeom>
          <a:solidFill>
            <a:srgbClr val="C800A1"/>
          </a:soli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ctr" defTabSz="685766" fontAlgn="auto">
              <a:spcBef>
                <a:spcPts val="0"/>
              </a:spcBef>
              <a:buClr>
                <a:srgbClr val="55555A"/>
              </a:buClr>
              <a:defRPr sz="1100">
                <a:solidFill>
                  <a:srgbClr val="FFFFFF"/>
                </a:solidFill>
                <a:latin typeface="Arial"/>
                <a:ea typeface="ＭＳ Ｐゴシック"/>
              </a:defRPr>
            </a:lvl1pPr>
          </a:lstStyle>
          <a:p>
            <a:r>
              <a:rPr lang="en-US" sz="1467"/>
              <a:t>2022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2F9AD033-3222-4BE0-81B8-8C33382DF5EF}"/>
              </a:ext>
            </a:extLst>
          </p:cNvPr>
          <p:cNvSpPr/>
          <p:nvPr/>
        </p:nvSpPr>
        <p:spPr>
          <a:xfrm>
            <a:off x="5687017" y="1030354"/>
            <a:ext cx="534721" cy="24602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Feb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B0149444-B59B-48C5-8735-29E22194356F}"/>
              </a:ext>
            </a:extLst>
          </p:cNvPr>
          <p:cNvSpPr/>
          <p:nvPr/>
        </p:nvSpPr>
        <p:spPr>
          <a:xfrm>
            <a:off x="6256437" y="1027085"/>
            <a:ext cx="534721" cy="249288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r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931DAF4-D016-4DED-A438-A2C32F38C6C0}"/>
              </a:ext>
            </a:extLst>
          </p:cNvPr>
          <p:cNvSpPr/>
          <p:nvPr/>
        </p:nvSpPr>
        <p:spPr>
          <a:xfrm>
            <a:off x="7340260" y="1027085"/>
            <a:ext cx="486771" cy="25167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Ma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BDB6959-B939-4791-8329-9A32CF1A93BC}"/>
              </a:ext>
            </a:extLst>
          </p:cNvPr>
          <p:cNvSpPr/>
          <p:nvPr/>
        </p:nvSpPr>
        <p:spPr>
          <a:xfrm>
            <a:off x="6817058" y="1027085"/>
            <a:ext cx="490484" cy="251672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pr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BBCFCEB-8F54-40F4-85A1-D334FE73D4C9}"/>
              </a:ext>
            </a:extLst>
          </p:cNvPr>
          <p:cNvSpPr/>
          <p:nvPr/>
        </p:nvSpPr>
        <p:spPr>
          <a:xfrm>
            <a:off x="3234899" y="1032679"/>
            <a:ext cx="578429" cy="239880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6B0DEE9-AE44-4D7D-A118-2A0A69ACD663}"/>
              </a:ext>
            </a:extLst>
          </p:cNvPr>
          <p:cNvSpPr/>
          <p:nvPr/>
        </p:nvSpPr>
        <p:spPr>
          <a:xfrm>
            <a:off x="2601259" y="1033965"/>
            <a:ext cx="608621" cy="24240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2A893023-7845-4D83-B67D-EA67DA1F7565}"/>
              </a:ext>
            </a:extLst>
          </p:cNvPr>
          <p:cNvSpPr/>
          <p:nvPr/>
        </p:nvSpPr>
        <p:spPr>
          <a:xfrm>
            <a:off x="10817097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Nov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51200885-13CD-408C-A33F-DCE08522E70E}"/>
              </a:ext>
            </a:extLst>
          </p:cNvPr>
          <p:cNvSpPr/>
          <p:nvPr/>
        </p:nvSpPr>
        <p:spPr>
          <a:xfrm>
            <a:off x="11372206" y="1026096"/>
            <a:ext cx="534721" cy="2538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Dec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F0BBABA-21F1-48CA-98FE-20C93CF9CFC2}"/>
              </a:ext>
            </a:extLst>
          </p:cNvPr>
          <p:cNvSpPr/>
          <p:nvPr/>
        </p:nvSpPr>
        <p:spPr>
          <a:xfrm>
            <a:off x="10262010" y="1026869"/>
            <a:ext cx="534721" cy="252633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Oct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87753CB6-4BB5-41E6-98D8-82C8331EEA84}"/>
              </a:ext>
            </a:extLst>
          </p:cNvPr>
          <p:cNvSpPr/>
          <p:nvPr/>
        </p:nvSpPr>
        <p:spPr>
          <a:xfrm>
            <a:off x="7849041" y="1027259"/>
            <a:ext cx="534721" cy="245141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rIns="48000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AD4B63A-D55F-488F-A11D-D29D0C71F13E}"/>
              </a:ext>
            </a:extLst>
          </p:cNvPr>
          <p:cNvSpPr/>
          <p:nvPr/>
        </p:nvSpPr>
        <p:spPr>
          <a:xfrm>
            <a:off x="8996263" y="1032841"/>
            <a:ext cx="608621" cy="24613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Aug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ED5B048-6116-461D-B9C7-83B164EAC102}"/>
              </a:ext>
            </a:extLst>
          </p:cNvPr>
          <p:cNvSpPr/>
          <p:nvPr/>
        </p:nvSpPr>
        <p:spPr>
          <a:xfrm>
            <a:off x="8406271" y="1026881"/>
            <a:ext cx="559160" cy="2504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Jul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18A5F3C-7CC8-4A22-B9C3-07546F0BF733}"/>
              </a:ext>
            </a:extLst>
          </p:cNvPr>
          <p:cNvSpPr/>
          <p:nvPr/>
        </p:nvSpPr>
        <p:spPr>
          <a:xfrm>
            <a:off x="9631843" y="1029645"/>
            <a:ext cx="608621" cy="24933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914332"/>
            <a:r>
              <a:rPr lang="en-US" sz="1200">
                <a:solidFill>
                  <a:srgbClr val="FFFFFF"/>
                </a:solidFill>
                <a:latin typeface="Arial"/>
                <a:ea typeface="ＭＳ Ｐゴシック"/>
              </a:rPr>
              <a:t>Sep</a:t>
            </a:r>
          </a:p>
        </p:txBody>
      </p:sp>
      <p:sp>
        <p:nvSpPr>
          <p:cNvPr id="211" name="OTLSHAPE_SLT_e8a0d0690d7843edaca796e8b25719da_Shape">
            <a:extLst>
              <a:ext uri="{FF2B5EF4-FFF2-40B4-BE49-F238E27FC236}">
                <a16:creationId xmlns:a16="http://schemas.microsoft.com/office/drawing/2014/main" id="{4E0B6F50-1BEB-4AC3-A4AA-D8C30B82EA00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64877" y="1435366"/>
            <a:ext cx="2034123" cy="164204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/>
              <a:t>MDM Tool</a:t>
            </a:r>
          </a:p>
        </p:txBody>
      </p:sp>
      <p:sp>
        <p:nvSpPr>
          <p:cNvPr id="213" name="OTLSHAPE_SLM_0aec949068fc4edb9016a17022f2fa0f_Shape">
            <a:extLst>
              <a:ext uri="{FF2B5EF4-FFF2-40B4-BE49-F238E27FC236}">
                <a16:creationId xmlns:a16="http://schemas.microsoft.com/office/drawing/2014/main" id="{4B5CC930-2486-4E58-ADF1-C87A0B22F49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2074006" y="1437256"/>
            <a:ext cx="136207" cy="171973"/>
          </a:xfrm>
          <a:prstGeom prst="diamond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B050"/>
              </a:solidFill>
              <a:highlight>
                <a:srgbClr val="FF0000"/>
              </a:highlight>
            </a:endParaRPr>
          </a:p>
        </p:txBody>
      </p:sp>
      <p:sp>
        <p:nvSpPr>
          <p:cNvPr id="214" name="OTLSHAPE_SLM_0aec949068fc4edb9016a17022f2fa0f_Title">
            <a:extLst>
              <a:ext uri="{FF2B5EF4-FFF2-40B4-BE49-F238E27FC236}">
                <a16:creationId xmlns:a16="http://schemas.microsoft.com/office/drawing/2014/main" id="{A42C1389-0420-45B0-8E26-71CFB517FBE2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103869" y="1361096"/>
            <a:ext cx="870876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100" spc="-3">
                <a:solidFill>
                  <a:schemeClr val="dk1"/>
                </a:solidFill>
                <a:latin typeface="Calibri" panose="020F0502020204030204" pitchFamily="34" charset="0"/>
              </a:rPr>
              <a:t>MDM  tool</a:t>
            </a:r>
          </a:p>
          <a:p>
            <a:pPr algn="ctr"/>
            <a:r>
              <a:rPr lang="en-US" sz="1100" spc="-3">
                <a:solidFill>
                  <a:schemeClr val="dk1"/>
                </a:solidFill>
                <a:latin typeface="Calibri" panose="020F0502020204030204" pitchFamily="34" charset="0"/>
              </a:rPr>
              <a:t>Ready to us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9E9389B-E5B1-4B32-B261-29D796C9A240}"/>
              </a:ext>
            </a:extLst>
          </p:cNvPr>
          <p:cNvSpPr txBox="1"/>
          <p:nvPr/>
        </p:nvSpPr>
        <p:spPr bwMode="auto">
          <a:xfrm>
            <a:off x="5971721" y="6222868"/>
            <a:ext cx="4582316" cy="60785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267"/>
              </a:spcAft>
            </a:pPr>
            <a:r>
              <a:rPr lang="en-US" sz="800"/>
              <a:t>Note: 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All Timelines are subject to budget approval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Scope of each release will be finalized as per pre-work findings</a:t>
            </a:r>
          </a:p>
          <a:p>
            <a:pPr marL="228589" indent="-228589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800"/>
              <a:t>Future Release timeline will be changed based on the current release date change</a:t>
            </a:r>
          </a:p>
        </p:txBody>
      </p:sp>
      <p:sp>
        <p:nvSpPr>
          <p:cNvPr id="99" name="OTLSHAPE_SLM_0aec949068fc4edb9016a17022f2fa0f_Title">
            <a:extLst>
              <a:ext uri="{FF2B5EF4-FFF2-40B4-BE49-F238E27FC236}">
                <a16:creationId xmlns:a16="http://schemas.microsoft.com/office/drawing/2014/main" id="{1C85BA79-D196-4613-B86F-DC6CFF58527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4337967" y="2237490"/>
            <a:ext cx="131373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 defTabSz="1219140">
              <a:buClr>
                <a:srgbClr val="55555A"/>
              </a:buClr>
              <a:defRPr/>
            </a:pPr>
            <a:r>
              <a:rPr lang="en-US" sz="800">
                <a:solidFill>
                  <a:srgbClr val="C800A1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tire/replace  IAM Interim MDM Unique Worker Persistent ID Gener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D67E009-CBC8-433E-ABAA-629B2F768028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71759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: Rounded Corners 24">
            <a:extLst>
              <a:ext uri="{FF2B5EF4-FFF2-40B4-BE49-F238E27FC236}">
                <a16:creationId xmlns:a16="http://schemas.microsoft.com/office/drawing/2014/main" id="{070AD3DD-7B48-42AF-870D-1B0C02498793}"/>
              </a:ext>
            </a:extLst>
          </p:cNvPr>
          <p:cNvSpPr/>
          <p:nvPr/>
        </p:nvSpPr>
        <p:spPr>
          <a:xfrm>
            <a:off x="5571483" y="1549937"/>
            <a:ext cx="3275432" cy="895275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 kern="0">
                <a:solidFill>
                  <a:srgbClr val="002060"/>
                </a:solidFill>
                <a:latin typeface="Calibri"/>
              </a:rPr>
              <a:t>A person linked to a POSITION in an ORGANIZATION (employee, contingent) or having a IT network identity (MSP)</a:t>
            </a:r>
          </a:p>
        </p:txBody>
      </p:sp>
      <p:sp>
        <p:nvSpPr>
          <p:cNvPr id="53" name="Rectangle: Rounded Corners 24">
            <a:extLst>
              <a:ext uri="{FF2B5EF4-FFF2-40B4-BE49-F238E27FC236}">
                <a16:creationId xmlns:a16="http://schemas.microsoft.com/office/drawing/2014/main" id="{714D254C-682A-47DA-AA08-939DB1543401}"/>
              </a:ext>
            </a:extLst>
          </p:cNvPr>
          <p:cNvSpPr/>
          <p:nvPr/>
        </p:nvSpPr>
        <p:spPr>
          <a:xfrm>
            <a:off x="121456" y="4007224"/>
            <a:ext cx="3275432" cy="195811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 i="1">
              <a:solidFill>
                <a:srgbClr val="002060"/>
              </a:solidFill>
              <a:latin typeface="Calibri"/>
            </a:endParaRPr>
          </a:p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Contingent work, casual work, or contract work, is an employment relationship with limited job security, payment on a piece work basis, typically part-time that is considered non-permanent. Contingent workers are provided to NG by MSPs that act as agents. NG pays the agent and the agent pays the worker.</a:t>
            </a:r>
          </a:p>
        </p:txBody>
      </p:sp>
      <p:sp>
        <p:nvSpPr>
          <p:cNvPr id="52" name="Rectangle: Rounded Corners 24">
            <a:extLst>
              <a:ext uri="{FF2B5EF4-FFF2-40B4-BE49-F238E27FC236}">
                <a16:creationId xmlns:a16="http://schemas.microsoft.com/office/drawing/2014/main" id="{8C7EE3A5-0B2E-4E9F-BB74-B1E48D77060A}"/>
              </a:ext>
            </a:extLst>
          </p:cNvPr>
          <p:cNvSpPr/>
          <p:nvPr/>
        </p:nvSpPr>
        <p:spPr>
          <a:xfrm>
            <a:off x="3998261" y="4007225"/>
            <a:ext cx="3275432" cy="1958160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Employees have a contract of employment and get paid directly by NG. Permanent employees do not have a predetermined end date to employment. In addition to their salaries, they often receive benefits like subsidized health care, paid vacations, holidays, sick time etc.</a:t>
            </a:r>
          </a:p>
        </p:txBody>
      </p:sp>
      <p:sp>
        <p:nvSpPr>
          <p:cNvPr id="41" name="Rectangle: Rounded Corners 24">
            <a:extLst>
              <a:ext uri="{FF2B5EF4-FFF2-40B4-BE49-F238E27FC236}">
                <a16:creationId xmlns:a16="http://schemas.microsoft.com/office/drawing/2014/main" id="{64800DF0-1598-43DF-A243-FBBFA05CC71D}"/>
              </a:ext>
            </a:extLst>
          </p:cNvPr>
          <p:cNvSpPr/>
          <p:nvPr/>
        </p:nvSpPr>
        <p:spPr>
          <a:xfrm>
            <a:off x="7748914" y="3990062"/>
            <a:ext cx="4084591" cy="1975281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i="1">
                <a:solidFill>
                  <a:srgbClr val="002060"/>
                </a:solidFill>
                <a:latin typeface="Calibri"/>
              </a:rPr>
              <a:t>A Managed Service Provider (MSP) is a contingent and/or statement of work service implemented by an external organization that combines process, personal expertise and technology to support an organization’s gig, temporary, temp-to-hire, direct hire, independent contractor administration, Statement of Work (SOW) hiring and other complex services such as vendor management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1693CD-F7CB-4884-A518-253D19D5F653}"/>
              </a:ext>
            </a:extLst>
          </p:cNvPr>
          <p:cNvSpPr txBox="1">
            <a:spLocks/>
          </p:cNvSpPr>
          <p:nvPr/>
        </p:nvSpPr>
        <p:spPr bwMode="auto">
          <a:xfrm>
            <a:off x="711200" y="162173"/>
            <a:ext cx="11018734" cy="42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457131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914264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37139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828528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r>
              <a:rPr lang="en-GB" sz="2800" kern="0"/>
              <a:t>What is a Worker?</a:t>
            </a:r>
          </a:p>
        </p:txBody>
      </p:sp>
      <p:sp>
        <p:nvSpPr>
          <p:cNvPr id="9" name="Rectangle: Rounded Corners 24">
            <a:extLst>
              <a:ext uri="{FF2B5EF4-FFF2-40B4-BE49-F238E27FC236}">
                <a16:creationId xmlns:a16="http://schemas.microsoft.com/office/drawing/2014/main" id="{E8C26807-360E-40A7-ACA1-CF5E703B7483}"/>
              </a:ext>
            </a:extLst>
          </p:cNvPr>
          <p:cNvSpPr/>
          <p:nvPr/>
        </p:nvSpPr>
        <p:spPr>
          <a:xfrm>
            <a:off x="9031173" y="3705598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MSP</a:t>
            </a:r>
          </a:p>
        </p:txBody>
      </p:sp>
      <p:sp>
        <p:nvSpPr>
          <p:cNvPr id="10" name="Rectangle: Rounded Corners 25">
            <a:extLst>
              <a:ext uri="{FF2B5EF4-FFF2-40B4-BE49-F238E27FC236}">
                <a16:creationId xmlns:a16="http://schemas.microsoft.com/office/drawing/2014/main" id="{52E63C6E-D07C-4E5B-B8A7-1B171FDEEDD8}"/>
              </a:ext>
            </a:extLst>
          </p:cNvPr>
          <p:cNvSpPr/>
          <p:nvPr/>
        </p:nvSpPr>
        <p:spPr>
          <a:xfrm>
            <a:off x="962417" y="3712974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Contingent Worker</a:t>
            </a:r>
          </a:p>
        </p:txBody>
      </p:sp>
      <p:sp>
        <p:nvSpPr>
          <p:cNvPr id="15" name="Rectangle: Rounded Corners 32">
            <a:extLst>
              <a:ext uri="{FF2B5EF4-FFF2-40B4-BE49-F238E27FC236}">
                <a16:creationId xmlns:a16="http://schemas.microsoft.com/office/drawing/2014/main" id="{FEE4DB54-8E2B-4D20-A56E-82CC9E4EED2B}"/>
              </a:ext>
            </a:extLst>
          </p:cNvPr>
          <p:cNvSpPr/>
          <p:nvPr/>
        </p:nvSpPr>
        <p:spPr>
          <a:xfrm>
            <a:off x="4835297" y="3744348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Employee</a:t>
            </a:r>
          </a:p>
        </p:txBody>
      </p:sp>
      <p:pic>
        <p:nvPicPr>
          <p:cNvPr id="24" name="Graphic 23" descr="Construction worker">
            <a:extLst>
              <a:ext uri="{FF2B5EF4-FFF2-40B4-BE49-F238E27FC236}">
                <a16:creationId xmlns:a16="http://schemas.microsoft.com/office/drawing/2014/main" id="{92ABCBD7-0B26-4CE6-9942-37B3ED56E3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06506" y="530208"/>
            <a:ext cx="719854" cy="719854"/>
          </a:xfrm>
          <a:prstGeom prst="rect">
            <a:avLst/>
          </a:prstGeom>
        </p:spPr>
      </p:pic>
      <p:sp>
        <p:nvSpPr>
          <p:cNvPr id="28" name="Rectangle: Rounded Corners 32">
            <a:extLst>
              <a:ext uri="{FF2B5EF4-FFF2-40B4-BE49-F238E27FC236}">
                <a16:creationId xmlns:a16="http://schemas.microsoft.com/office/drawing/2014/main" id="{138EBA15-F3F3-4E74-A47A-AD2B47CCC953}"/>
              </a:ext>
            </a:extLst>
          </p:cNvPr>
          <p:cNvSpPr/>
          <p:nvPr/>
        </p:nvSpPr>
        <p:spPr>
          <a:xfrm>
            <a:off x="4835297" y="1193823"/>
            <a:ext cx="1213685" cy="491429"/>
          </a:xfrm>
          <a:custGeom>
            <a:avLst>
              <a:gd name="f0" fmla="val 3600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00148C"/>
          </a:solidFill>
          <a:ln cap="flat">
            <a:noFill/>
            <a:prstDash val="solid"/>
          </a:ln>
        </p:spPr>
        <p:txBody>
          <a:bodyPr vert="horz" wrap="square" lIns="91430" tIns="45720" rIns="9143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00" b="1" i="0" u="none" strike="noStrike" kern="0" cap="none" spc="0" baseline="0">
                <a:solidFill>
                  <a:srgbClr val="FFFFFF"/>
                </a:solidFill>
                <a:uFillTx/>
                <a:latin typeface="Graphik" pitchFamily="34"/>
                <a:ea typeface="ＭＳ Ｐゴシック"/>
                <a:cs typeface="Arial"/>
              </a:rPr>
              <a:t>Worker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6923A54-4321-4825-BC5B-24E76A97D289}"/>
              </a:ext>
            </a:extLst>
          </p:cNvPr>
          <p:cNvCxnSpPr>
            <a:stCxn id="28" idx="2"/>
            <a:endCxn id="15" idx="0"/>
          </p:cNvCxnSpPr>
          <p:nvPr/>
        </p:nvCxnSpPr>
        <p:spPr bwMode="auto">
          <a:xfrm>
            <a:off x="5442140" y="1685252"/>
            <a:ext cx="0" cy="205909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B436940D-B40D-465D-902F-F51646787E88}"/>
              </a:ext>
            </a:extLst>
          </p:cNvPr>
          <p:cNvCxnSpPr>
            <a:stCxn id="28" idx="2"/>
            <a:endCxn id="10" idx="0"/>
          </p:cNvCxnSpPr>
          <p:nvPr/>
        </p:nvCxnSpPr>
        <p:spPr bwMode="auto">
          <a:xfrm rot="5400000">
            <a:off x="2491839" y="762673"/>
            <a:ext cx="2027722" cy="38728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C26B6B2-C28B-4F8D-BEDA-7CE7E0A5F2F0}"/>
              </a:ext>
            </a:extLst>
          </p:cNvPr>
          <p:cNvCxnSpPr>
            <a:stCxn id="28" idx="2"/>
            <a:endCxn id="9" idx="0"/>
          </p:cNvCxnSpPr>
          <p:nvPr/>
        </p:nvCxnSpPr>
        <p:spPr bwMode="auto">
          <a:xfrm rot="16200000" flipH="1">
            <a:off x="6529905" y="597487"/>
            <a:ext cx="2020346" cy="419587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9201B66-CBC8-408D-91CE-2265E30856A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9965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461898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78A06-5D7F-48CD-ADC9-0A6414280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7"/>
            <a:ext cx="11329827" cy="574516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3D5A5F-3F65-41E9-AEDA-C93706787AF0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38754E0-F034-4569-B53B-33A872030EC2}"/>
              </a:ext>
            </a:extLst>
          </p:cNvPr>
          <p:cNvSpPr txBox="1">
            <a:spLocks/>
          </p:cNvSpPr>
          <p:nvPr/>
        </p:nvSpPr>
        <p:spPr>
          <a:xfrm>
            <a:off x="466553" y="1205477"/>
            <a:ext cx="11222504" cy="5398980"/>
          </a:xfrm>
        </p:spPr>
        <p:txBody>
          <a:bodyPr anchor="t"/>
          <a:lstStyle>
            <a:defPPr>
              <a:defRPr lang="en-GB"/>
            </a:defPPr>
            <a:lvl1pPr marL="0" indent="0"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lvl="1" indent="-167">
              <a:spcAft>
                <a:spcPts val="533"/>
              </a:spcAft>
            </a:pPr>
            <a:endParaRPr lang="en-US" sz="1600">
              <a:solidFill>
                <a:srgbClr val="00148C"/>
              </a:solidFill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2D4DBA-35BE-4E67-BFD8-A85ADA2BDE37}"/>
              </a:ext>
            </a:extLst>
          </p:cNvPr>
          <p:cNvSpPr/>
          <p:nvPr/>
        </p:nvSpPr>
        <p:spPr>
          <a:xfrm>
            <a:off x="430373" y="1003097"/>
            <a:ext cx="11222504" cy="251350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133"/>
              </a:spcAft>
            </a:pPr>
            <a:r>
              <a:rPr lang="en-US" sz="1400" b="1" i="1" dirty="0">
                <a:solidFill>
                  <a:srgbClr val="00148C"/>
                </a:solidFill>
                <a:cs typeface="Arial"/>
              </a:rPr>
              <a:t>Following the Group Data Strategy presentation to ITLT on 24</a:t>
            </a:r>
            <a:r>
              <a:rPr lang="en-US" sz="1400" b="1" i="1" baseline="30000" dirty="0">
                <a:solidFill>
                  <a:srgbClr val="00148C"/>
                </a:solidFill>
                <a:cs typeface="Arial"/>
              </a:rPr>
              <a:t>th</a:t>
            </a:r>
            <a:r>
              <a:rPr lang="en-US" sz="1400" b="1" i="1" dirty="0">
                <a:solidFill>
                  <a:srgbClr val="00148C"/>
                </a:solidFill>
                <a:cs typeface="Arial"/>
              </a:rPr>
              <a:t> June a request was made to report back on the source systems, specifically for Workforce Data, the current challenges today and how the Group Data Strategy will tackle and resolve these issues.</a:t>
            </a:r>
          </a:p>
          <a:p>
            <a:pPr lvl="1">
              <a:spcAft>
                <a:spcPts val="133"/>
              </a:spcAft>
            </a:pPr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lvl="1">
              <a:spcAft>
                <a:spcPts val="133"/>
              </a:spcAft>
            </a:pPr>
            <a:r>
              <a:rPr lang="en-US" sz="1400" dirty="0">
                <a:solidFill>
                  <a:srgbClr val="00148C"/>
                </a:solidFill>
                <a:cs typeface="Arial"/>
              </a:rPr>
              <a:t>A deep dive was completed on the Workforce Domain in 2020 that identified three major challenges:</a:t>
            </a:r>
          </a:p>
          <a:p>
            <a:pPr lvl="1">
              <a:spcAft>
                <a:spcPts val="133"/>
              </a:spcAft>
            </a:pPr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lvl="1"/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lvl="1"/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lvl="2"/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marL="742950" lvl="1" indent="-285750">
              <a:buFont typeface="Arial"/>
              <a:buChar char="•"/>
            </a:pPr>
            <a:endParaRPr lang="en-US" sz="1400" dirty="0">
              <a:solidFill>
                <a:srgbClr val="00148C"/>
              </a:solidFill>
              <a:cs typeface="Arial"/>
            </a:endParaRPr>
          </a:p>
          <a:p>
            <a:pPr lvl="1">
              <a:spcAft>
                <a:spcPts val="133"/>
              </a:spcAft>
            </a:pPr>
            <a:endParaRPr lang="en-US" sz="1400" b="1" u="sng" dirty="0">
              <a:solidFill>
                <a:srgbClr val="00148C"/>
              </a:solidFill>
              <a:cs typeface="Arial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B9BE99C4-8C9A-49C3-8DEB-59632364C3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022591"/>
              </p:ext>
            </p:extLst>
          </p:nvPr>
        </p:nvGraphicFramePr>
        <p:xfrm>
          <a:off x="981974" y="2472407"/>
          <a:ext cx="10173705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921">
                  <a:extLst>
                    <a:ext uri="{9D8B030D-6E8A-4147-A177-3AD203B41FA5}">
                      <a16:colId xmlns:a16="http://schemas.microsoft.com/office/drawing/2014/main" val="3219152426"/>
                    </a:ext>
                  </a:extLst>
                </a:gridCol>
                <a:gridCol w="3613549">
                  <a:extLst>
                    <a:ext uri="{9D8B030D-6E8A-4147-A177-3AD203B41FA5}">
                      <a16:colId xmlns:a16="http://schemas.microsoft.com/office/drawing/2014/main" val="3252121464"/>
                    </a:ext>
                  </a:extLst>
                </a:gridCol>
                <a:gridCol w="3391235">
                  <a:extLst>
                    <a:ext uri="{9D8B030D-6E8A-4147-A177-3AD203B41FA5}">
                      <a16:colId xmlns:a16="http://schemas.microsoft.com/office/drawing/2014/main" val="119152931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dirty="0"/>
                        <a:t>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roposed 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olution 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4545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00148C"/>
                          </a:solidFill>
                          <a:cs typeface="Arial"/>
                        </a:rPr>
                        <a:t>Lack of master data source for workforce</a:t>
                      </a:r>
                    </a:p>
                    <a:p>
                      <a:endParaRPr lang="en-GB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dirty="0"/>
                        <a:t>Establish golden master record</a:t>
                      </a:r>
                    </a:p>
                    <a:p>
                      <a:r>
                        <a:rPr lang="en-GB" sz="1400" b="0" dirty="0"/>
                        <a:t>Combine and share data from Master Data Management into Enterprise Data Plat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dirty="0"/>
                        <a:t>Workforce Data Domain Project (Start-up end July) and Global Workforce Tracking Project (On Hol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439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rgbClr val="00148C"/>
                          </a:solidFill>
                          <a:cs typeface="Arial"/>
                        </a:rPr>
                        <a:t>Data quality issues, lack of trust ; misunderstanding of data</a:t>
                      </a:r>
                    </a:p>
                    <a:p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dirty="0"/>
                        <a:t>Data Quality reporting and ongoing business ownership of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/>
                        <a:t>Workforce Data Domain Project (Start-up end July)</a:t>
                      </a:r>
                    </a:p>
                    <a:p>
                      <a:endParaRPr lang="en-GB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1503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00148C"/>
                          </a:solidFill>
                          <a:cs typeface="Arial"/>
                        </a:rPr>
                        <a:t>Headcount reporting issues across HR and Finance systems</a:t>
                      </a:r>
                    </a:p>
                    <a:p>
                      <a:endParaRPr lang="en-GB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/>
                        <a:t>The above solutions will help, plus, better controls over downstream data interfaces and improved report/data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0" dirty="0"/>
                        <a:t>Raising awareness through training and education, supported partially through Workforce Data Domain proj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704569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152D32C-30A0-407E-94EA-EFBA4F873C0F}"/>
              </a:ext>
            </a:extLst>
          </p:cNvPr>
          <p:cNvSpPr/>
          <p:nvPr/>
        </p:nvSpPr>
        <p:spPr>
          <a:xfrm>
            <a:off x="5039870" y="5581241"/>
            <a:ext cx="6115809" cy="67197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200" b="1" dirty="0">
                <a:solidFill>
                  <a:schemeClr val="bg1"/>
                </a:solidFill>
                <a:cs typeface="Arial"/>
              </a:rPr>
              <a:t>Additional Support Required: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The Global Workforce Tracking Project remains on hold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Wider Enterprise approach to raise reporting/data understanding</a:t>
            </a:r>
          </a:p>
        </p:txBody>
      </p:sp>
    </p:spTree>
    <p:extLst>
      <p:ext uri="{BB962C8B-B14F-4D97-AF65-F5344CB8AC3E}">
        <p14:creationId xmlns:p14="http://schemas.microsoft.com/office/powerpoint/2010/main" val="17609848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aster Data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827986-86D2-4F53-9F9A-1FE20F032AB0}"/>
              </a:ext>
            </a:extLst>
          </p:cNvPr>
          <p:cNvSpPr/>
          <p:nvPr/>
        </p:nvSpPr>
        <p:spPr>
          <a:xfrm>
            <a:off x="430373" y="859001"/>
            <a:ext cx="112225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Today in the absence of Workforce master data and accompanying data solutions it is difficult to report and manage total workforce numbers accurately and consistently</a:t>
            </a: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EBBA0D8-7FD3-446B-B193-093340CF3635}"/>
              </a:ext>
            </a:extLst>
          </p:cNvPr>
          <p:cNvGrpSpPr/>
          <p:nvPr/>
        </p:nvGrpSpPr>
        <p:grpSpPr>
          <a:xfrm>
            <a:off x="430369" y="1746815"/>
            <a:ext cx="5201913" cy="4029134"/>
            <a:chOff x="430373" y="1746815"/>
            <a:chExt cx="4896081" cy="4029134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A6830A9-E8C2-4AAA-84CF-42D7466D7971}"/>
                </a:ext>
              </a:extLst>
            </p:cNvPr>
            <p:cNvCxnSpPr>
              <a:stCxn id="22" idx="2"/>
              <a:endCxn id="24" idx="0"/>
            </p:cNvCxnSpPr>
            <p:nvPr/>
          </p:nvCxnSpPr>
          <p:spPr bwMode="auto">
            <a:xfrm flipH="1">
              <a:off x="2241871" y="4443242"/>
              <a:ext cx="625249" cy="73147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Flowchart: Magnetic Disk 6">
              <a:extLst>
                <a:ext uri="{FF2B5EF4-FFF2-40B4-BE49-F238E27FC236}">
                  <a16:creationId xmlns:a16="http://schemas.microsoft.com/office/drawing/2014/main" id="{B81D1DD6-C411-4C17-91D7-583D53814FC5}"/>
                </a:ext>
              </a:extLst>
            </p:cNvPr>
            <p:cNvSpPr/>
            <p:nvPr/>
          </p:nvSpPr>
          <p:spPr bwMode="auto">
            <a:xfrm>
              <a:off x="792833" y="3355674"/>
              <a:ext cx="866223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cs typeface="Arial"/>
                </a:rPr>
                <a:t>MyHub</a:t>
              </a:r>
              <a:endParaRPr lang="en-GB" sz="900" b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1" name="Flowchart: Magnetic Disk 10">
              <a:extLst>
                <a:ext uri="{FF2B5EF4-FFF2-40B4-BE49-F238E27FC236}">
                  <a16:creationId xmlns:a16="http://schemas.microsoft.com/office/drawing/2014/main" id="{A31A092B-8474-44FA-B302-17B841CAC2E3}"/>
                </a:ext>
              </a:extLst>
            </p:cNvPr>
            <p:cNvSpPr/>
            <p:nvPr/>
          </p:nvSpPr>
          <p:spPr bwMode="auto">
            <a:xfrm>
              <a:off x="3693904" y="3355674"/>
              <a:ext cx="605798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latin typeface="+mn-lt"/>
                  <a:cs typeface="Arial"/>
                </a:rPr>
                <a:t>ACG (UK)</a:t>
              </a:r>
            </a:p>
          </p:txBody>
        </p:sp>
        <p:pic>
          <p:nvPicPr>
            <p:cNvPr id="13" name="Graphic 12" descr="Group">
              <a:extLst>
                <a:ext uri="{FF2B5EF4-FFF2-40B4-BE49-F238E27FC236}">
                  <a16:creationId xmlns:a16="http://schemas.microsoft.com/office/drawing/2014/main" id="{B10EB891-95D6-4D93-92C0-783FF4218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95910" y="1980832"/>
              <a:ext cx="863146" cy="86496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58482B-4A81-4E34-BCAE-B57A1B5D6448}"/>
                </a:ext>
              </a:extLst>
            </p:cNvPr>
            <p:cNvSpPr txBox="1"/>
            <p:nvPr/>
          </p:nvSpPr>
          <p:spPr bwMode="auto">
            <a:xfrm>
              <a:off x="588679" y="2875733"/>
              <a:ext cx="127452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Employees &amp; US Contingent Worker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pic>
          <p:nvPicPr>
            <p:cNvPr id="15" name="Graphic 14" descr="Group">
              <a:extLst>
                <a:ext uri="{FF2B5EF4-FFF2-40B4-BE49-F238E27FC236}">
                  <a16:creationId xmlns:a16="http://schemas.microsoft.com/office/drawing/2014/main" id="{37F14CBE-6142-4383-9885-4B764EAB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275090" y="1980832"/>
              <a:ext cx="863146" cy="86496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A97D08C-9744-49E5-A4EB-C6C631F8D1DD}"/>
                </a:ext>
              </a:extLst>
            </p:cNvPr>
            <p:cNvSpPr txBox="1"/>
            <p:nvPr/>
          </p:nvSpPr>
          <p:spPr bwMode="auto">
            <a:xfrm>
              <a:off x="2155703" y="2891376"/>
              <a:ext cx="99837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b="0" kern="0">
                  <a:solidFill>
                    <a:schemeClr val="tx1"/>
                  </a:solidFill>
                  <a:latin typeface="+mn-lt"/>
                  <a:ea typeface="+mn-ea"/>
                </a:rPr>
                <a:t>UK Contingent Workers </a:t>
              </a:r>
            </a:p>
          </p:txBody>
        </p:sp>
        <p:pic>
          <p:nvPicPr>
            <p:cNvPr id="17" name="Graphic 16" descr="Group">
              <a:extLst>
                <a:ext uri="{FF2B5EF4-FFF2-40B4-BE49-F238E27FC236}">
                  <a16:creationId xmlns:a16="http://schemas.microsoft.com/office/drawing/2014/main" id="{95E33A98-911F-4E86-9560-82FF2CCE0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54270" y="1980832"/>
              <a:ext cx="863146" cy="86496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0161EC-E41B-401D-8238-DFE9CDF9FE2B}"/>
                </a:ext>
              </a:extLst>
            </p:cNvPr>
            <p:cNvSpPr txBox="1"/>
            <p:nvPr/>
          </p:nvSpPr>
          <p:spPr bwMode="auto">
            <a:xfrm>
              <a:off x="4024082" y="2940479"/>
              <a:ext cx="387367" cy="174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MSP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C0EB70B-6930-445F-B586-F5F1A5DC6067}"/>
                </a:ext>
              </a:extLst>
            </p:cNvPr>
            <p:cNvCxnSpPr>
              <a:stCxn id="7" idx="3"/>
              <a:endCxn id="26" idx="0"/>
            </p:cNvCxnSpPr>
            <p:nvPr/>
          </p:nvCxnSpPr>
          <p:spPr bwMode="auto">
            <a:xfrm>
              <a:off x="1225944" y="3834970"/>
              <a:ext cx="860853" cy="76813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9A978C3B-D061-40FB-8116-9403777E4EF6}"/>
                </a:ext>
              </a:extLst>
            </p:cNvPr>
            <p:cNvCxnSpPr>
              <a:stCxn id="22" idx="1"/>
              <a:endCxn id="26" idx="0"/>
            </p:cNvCxnSpPr>
            <p:nvPr/>
          </p:nvCxnSpPr>
          <p:spPr bwMode="auto">
            <a:xfrm flipH="1">
              <a:off x="2086797" y="4258859"/>
              <a:ext cx="596327" cy="34424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DB6647F-8EF8-4885-82D3-8576E4BF452F}"/>
                </a:ext>
              </a:extLst>
            </p:cNvPr>
            <p:cNvCxnSpPr>
              <a:cxnSpLocks/>
              <a:stCxn id="4" idx="2"/>
              <a:endCxn id="22" idx="0"/>
            </p:cNvCxnSpPr>
            <p:nvPr/>
          </p:nvCxnSpPr>
          <p:spPr bwMode="auto">
            <a:xfrm>
              <a:off x="2394201" y="3822607"/>
              <a:ext cx="472918" cy="25186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26F6EF7-24EC-4713-83EA-E4A1BEAE7EB3}"/>
                </a:ext>
              </a:extLst>
            </p:cNvPr>
            <p:cNvCxnSpPr>
              <a:cxnSpLocks/>
              <a:stCxn id="11" idx="3"/>
              <a:endCxn id="28" idx="0"/>
            </p:cNvCxnSpPr>
            <p:nvPr/>
          </p:nvCxnSpPr>
          <p:spPr bwMode="auto">
            <a:xfrm flipH="1">
              <a:off x="2846340" y="3834971"/>
              <a:ext cx="1150464" cy="108122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D8C763-55FD-4D01-AD8B-B337C25940B9}"/>
                </a:ext>
              </a:extLst>
            </p:cNvPr>
            <p:cNvCxnSpPr>
              <a:stCxn id="7" idx="3"/>
              <a:endCxn id="36" idx="0"/>
            </p:cNvCxnSpPr>
            <p:nvPr/>
          </p:nvCxnSpPr>
          <p:spPr bwMode="auto">
            <a:xfrm flipH="1">
              <a:off x="1194277" y="3834970"/>
              <a:ext cx="31667" cy="127906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4560087-C750-4BFC-BCDB-75D004E7EA8F}"/>
                </a:ext>
              </a:extLst>
            </p:cNvPr>
            <p:cNvCxnSpPr>
              <a:stCxn id="7" idx="3"/>
              <a:endCxn id="35" idx="0"/>
            </p:cNvCxnSpPr>
            <p:nvPr/>
          </p:nvCxnSpPr>
          <p:spPr bwMode="auto">
            <a:xfrm flipH="1">
              <a:off x="889503" y="3834970"/>
              <a:ext cx="336441" cy="62327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EE15C2D-9AAF-47D9-8AC3-2459D84E63E3}"/>
                </a:ext>
              </a:extLst>
            </p:cNvPr>
            <p:cNvCxnSpPr>
              <a:stCxn id="7" idx="3"/>
              <a:endCxn id="20" idx="0"/>
            </p:cNvCxnSpPr>
            <p:nvPr/>
          </p:nvCxnSpPr>
          <p:spPr bwMode="auto">
            <a:xfrm>
              <a:off x="1225944" y="3834970"/>
              <a:ext cx="166687" cy="77166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5A3428F-302B-41C4-B1C3-9D6ADAB97124}"/>
                </a:ext>
              </a:extLst>
            </p:cNvPr>
            <p:cNvCxnSpPr>
              <a:stCxn id="7" idx="3"/>
              <a:endCxn id="34" idx="1"/>
            </p:cNvCxnSpPr>
            <p:nvPr/>
          </p:nvCxnSpPr>
          <p:spPr bwMode="auto">
            <a:xfrm>
              <a:off x="1225945" y="3834971"/>
              <a:ext cx="2119690" cy="102610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0" name="Graphic 19" descr="Paper">
              <a:extLst>
                <a:ext uri="{FF2B5EF4-FFF2-40B4-BE49-F238E27FC236}">
                  <a16:creationId xmlns:a16="http://schemas.microsoft.com/office/drawing/2014/main" id="{EF3FE2D7-DDD5-48DB-BDCA-E20FE6127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08635" y="4606633"/>
              <a:ext cx="367991" cy="368766"/>
            </a:xfrm>
            <a:prstGeom prst="rect">
              <a:avLst/>
            </a:prstGeom>
          </p:spPr>
        </p:pic>
        <p:pic>
          <p:nvPicPr>
            <p:cNvPr id="22" name="Graphic 21" descr="Document">
              <a:extLst>
                <a:ext uri="{FF2B5EF4-FFF2-40B4-BE49-F238E27FC236}">
                  <a16:creationId xmlns:a16="http://schemas.microsoft.com/office/drawing/2014/main" id="{7DFEB34F-E7F9-4B1F-8FF9-F26386A65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3124" y="4074476"/>
              <a:ext cx="367991" cy="368766"/>
            </a:xfrm>
            <a:prstGeom prst="rect">
              <a:avLst/>
            </a:prstGeom>
          </p:spPr>
        </p:pic>
        <p:pic>
          <p:nvPicPr>
            <p:cNvPr id="24" name="Graphic 23" descr="Bar chart RTL">
              <a:extLst>
                <a:ext uri="{FF2B5EF4-FFF2-40B4-BE49-F238E27FC236}">
                  <a16:creationId xmlns:a16="http://schemas.microsoft.com/office/drawing/2014/main" id="{5D39F020-9AD7-47C0-8A45-8B0AF5387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57875" y="5174721"/>
              <a:ext cx="367991" cy="368766"/>
            </a:xfrm>
            <a:prstGeom prst="rect">
              <a:avLst/>
            </a:prstGeom>
          </p:spPr>
        </p:pic>
        <p:pic>
          <p:nvPicPr>
            <p:cNvPr id="26" name="Graphic 25" descr="Statistics">
              <a:extLst>
                <a:ext uri="{FF2B5EF4-FFF2-40B4-BE49-F238E27FC236}">
                  <a16:creationId xmlns:a16="http://schemas.microsoft.com/office/drawing/2014/main" id="{8DBA4AF2-7F1B-4EC1-BD50-EDD6AB422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02801" y="4603103"/>
              <a:ext cx="367991" cy="368766"/>
            </a:xfrm>
            <a:prstGeom prst="rect">
              <a:avLst/>
            </a:prstGeom>
          </p:spPr>
        </p:pic>
        <p:pic>
          <p:nvPicPr>
            <p:cNvPr id="28" name="Graphic 27" descr="Pie chart">
              <a:extLst>
                <a:ext uri="{FF2B5EF4-FFF2-40B4-BE49-F238E27FC236}">
                  <a16:creationId xmlns:a16="http://schemas.microsoft.com/office/drawing/2014/main" id="{3489CF86-8A6C-4A8D-AEBB-386C04AF9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662344" y="4916197"/>
              <a:ext cx="367991" cy="368766"/>
            </a:xfrm>
            <a:prstGeom prst="rect">
              <a:avLst/>
            </a:prstGeom>
          </p:spPr>
        </p:pic>
        <p:pic>
          <p:nvPicPr>
            <p:cNvPr id="30" name="Graphic 29" descr="Venn diagram">
              <a:extLst>
                <a:ext uri="{FF2B5EF4-FFF2-40B4-BE49-F238E27FC236}">
                  <a16:creationId xmlns:a16="http://schemas.microsoft.com/office/drawing/2014/main" id="{B28C9EE7-E1F9-4423-AE6C-26ABCF0FB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009402" y="5045458"/>
              <a:ext cx="367991" cy="368766"/>
            </a:xfrm>
            <a:prstGeom prst="rect">
              <a:avLst/>
            </a:prstGeom>
          </p:spPr>
        </p:pic>
        <p:pic>
          <p:nvPicPr>
            <p:cNvPr id="31" name="Graphic 30" descr="Paper">
              <a:extLst>
                <a:ext uri="{FF2B5EF4-FFF2-40B4-BE49-F238E27FC236}">
                  <a16:creationId xmlns:a16="http://schemas.microsoft.com/office/drawing/2014/main" id="{511157CD-C0A5-4379-8F39-1484F808C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1752" y="4261973"/>
              <a:ext cx="367991" cy="368766"/>
            </a:xfrm>
            <a:prstGeom prst="rect">
              <a:avLst/>
            </a:prstGeom>
          </p:spPr>
        </p:pic>
        <p:pic>
          <p:nvPicPr>
            <p:cNvPr id="32" name="Graphic 31" descr="Document">
              <a:extLst>
                <a:ext uri="{FF2B5EF4-FFF2-40B4-BE49-F238E27FC236}">
                  <a16:creationId xmlns:a16="http://schemas.microsoft.com/office/drawing/2014/main" id="{FBBBB2EC-B976-4A4D-BFA0-3F830B3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05470" y="5248861"/>
              <a:ext cx="367991" cy="368766"/>
            </a:xfrm>
            <a:prstGeom prst="rect">
              <a:avLst/>
            </a:prstGeom>
          </p:spPr>
        </p:pic>
        <p:pic>
          <p:nvPicPr>
            <p:cNvPr id="33" name="Graphic 32" descr="Bar chart RTL">
              <a:extLst>
                <a:ext uri="{FF2B5EF4-FFF2-40B4-BE49-F238E27FC236}">
                  <a16:creationId xmlns:a16="http://schemas.microsoft.com/office/drawing/2014/main" id="{4C31B69E-DED8-4EB7-B15C-C289A8B3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88470" y="4826812"/>
              <a:ext cx="367991" cy="368766"/>
            </a:xfrm>
            <a:prstGeom prst="rect">
              <a:avLst/>
            </a:prstGeom>
          </p:spPr>
        </p:pic>
        <p:pic>
          <p:nvPicPr>
            <p:cNvPr id="34" name="Graphic 33" descr="Statistics">
              <a:extLst>
                <a:ext uri="{FF2B5EF4-FFF2-40B4-BE49-F238E27FC236}">
                  <a16:creationId xmlns:a16="http://schemas.microsoft.com/office/drawing/2014/main" id="{74A55E36-7953-4B5D-9438-9BA3D9433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345635" y="4676692"/>
              <a:ext cx="367991" cy="368766"/>
            </a:xfrm>
            <a:prstGeom prst="rect">
              <a:avLst/>
            </a:prstGeom>
          </p:spPr>
        </p:pic>
        <p:pic>
          <p:nvPicPr>
            <p:cNvPr id="35" name="Graphic 34" descr="Pie chart">
              <a:extLst>
                <a:ext uri="{FF2B5EF4-FFF2-40B4-BE49-F238E27FC236}">
                  <a16:creationId xmlns:a16="http://schemas.microsoft.com/office/drawing/2014/main" id="{682F0EBD-EC5E-491F-B236-AC5799340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5507" y="4458246"/>
              <a:ext cx="367991" cy="368766"/>
            </a:xfrm>
            <a:prstGeom prst="rect">
              <a:avLst/>
            </a:prstGeom>
          </p:spPr>
        </p:pic>
        <p:pic>
          <p:nvPicPr>
            <p:cNvPr id="36" name="Graphic 35" descr="Venn diagram">
              <a:extLst>
                <a:ext uri="{FF2B5EF4-FFF2-40B4-BE49-F238E27FC236}">
                  <a16:creationId xmlns:a16="http://schemas.microsoft.com/office/drawing/2014/main" id="{5849FCC3-DB68-4719-A1A7-965CAC381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10281" y="5114038"/>
              <a:ext cx="367991" cy="368766"/>
            </a:xfrm>
            <a:prstGeom prst="rect">
              <a:avLst/>
            </a:prstGeom>
          </p:spPr>
        </p:pic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42F5D30E-B8B4-445A-941C-BB24B2AA4D38}"/>
                </a:ext>
              </a:extLst>
            </p:cNvPr>
            <p:cNvCxnSpPr>
              <a:stCxn id="28" idx="3"/>
              <a:endCxn id="32" idx="0"/>
            </p:cNvCxnSpPr>
            <p:nvPr/>
          </p:nvCxnSpPr>
          <p:spPr bwMode="auto">
            <a:xfrm>
              <a:off x="3030335" y="5100581"/>
              <a:ext cx="259131" cy="1482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00F356F0-E54E-491F-B25B-412E81FF9365}"/>
                </a:ext>
              </a:extLst>
            </p:cNvPr>
            <p:cNvCxnSpPr>
              <a:stCxn id="34" idx="2"/>
              <a:endCxn id="30" idx="1"/>
            </p:cNvCxnSpPr>
            <p:nvPr/>
          </p:nvCxnSpPr>
          <p:spPr bwMode="auto">
            <a:xfrm>
              <a:off x="3529631" y="5045458"/>
              <a:ext cx="479771" cy="18438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D9D06BB-772C-40B6-9234-A1BF1FEF1B05}"/>
                </a:ext>
              </a:extLst>
            </p:cNvPr>
            <p:cNvCxnSpPr>
              <a:stCxn id="22" idx="3"/>
              <a:endCxn id="31" idx="0"/>
            </p:cNvCxnSpPr>
            <p:nvPr/>
          </p:nvCxnSpPr>
          <p:spPr bwMode="auto">
            <a:xfrm>
              <a:off x="3051116" y="4258859"/>
              <a:ext cx="1174632" cy="31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3ACBC91E-D52E-4802-BD17-2A17E9256E2F}"/>
                </a:ext>
              </a:extLst>
            </p:cNvPr>
            <p:cNvCxnSpPr>
              <a:cxnSpLocks/>
              <a:stCxn id="11" idx="3"/>
              <a:endCxn id="31" idx="0"/>
            </p:cNvCxnSpPr>
            <p:nvPr/>
          </p:nvCxnSpPr>
          <p:spPr bwMode="auto">
            <a:xfrm>
              <a:off x="3996804" y="3834971"/>
              <a:ext cx="228944" cy="42700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E0D1F6B-61D0-41D0-A511-EFB8201843AB}"/>
                </a:ext>
              </a:extLst>
            </p:cNvPr>
            <p:cNvCxnSpPr>
              <a:cxnSpLocks/>
              <a:stCxn id="64" idx="3"/>
              <a:endCxn id="33" idx="0"/>
            </p:cNvCxnSpPr>
            <p:nvPr/>
          </p:nvCxnSpPr>
          <p:spPr bwMode="auto">
            <a:xfrm>
              <a:off x="4750969" y="3823924"/>
              <a:ext cx="221496" cy="100288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F98C2B9-4933-4A9F-AF14-2A042DAF916C}"/>
                </a:ext>
              </a:extLst>
            </p:cNvPr>
            <p:cNvSpPr txBox="1"/>
            <p:nvPr/>
          </p:nvSpPr>
          <p:spPr bwMode="auto">
            <a:xfrm>
              <a:off x="472780" y="1746815"/>
              <a:ext cx="485367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400" b="1" kern="0">
                  <a:solidFill>
                    <a:schemeClr val="accent1"/>
                  </a:solidFill>
                  <a:latin typeface="+mn-lt"/>
                  <a:ea typeface="+mn-ea"/>
                </a:rPr>
                <a:t>Multiple Data Repositories and Data Consumption Channels 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D989F79-00DF-4B6A-8324-EC1775EB9DC5}"/>
                </a:ext>
              </a:extLst>
            </p:cNvPr>
            <p:cNvSpPr/>
            <p:nvPr/>
          </p:nvSpPr>
          <p:spPr bwMode="auto">
            <a:xfrm>
              <a:off x="430373" y="2002925"/>
              <a:ext cx="4833247" cy="3773024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5DDFDE56-145B-49B6-8580-7C48EE1237C4}"/>
              </a:ext>
            </a:extLst>
          </p:cNvPr>
          <p:cNvGrpSpPr/>
          <p:nvPr/>
        </p:nvGrpSpPr>
        <p:grpSpPr>
          <a:xfrm>
            <a:off x="6148556" y="1746815"/>
            <a:ext cx="5611644" cy="4029134"/>
            <a:chOff x="6148556" y="1746815"/>
            <a:chExt cx="5305145" cy="4029134"/>
          </a:xfrm>
        </p:grpSpPr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8E1A3DB-0CF1-47BC-8AB2-ACBC788E1AAC}"/>
                </a:ext>
              </a:extLst>
            </p:cNvPr>
            <p:cNvSpPr txBox="1"/>
            <p:nvPr/>
          </p:nvSpPr>
          <p:spPr bwMode="auto">
            <a:xfrm>
              <a:off x="6148556" y="1746815"/>
              <a:ext cx="522779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400" b="1" kern="0">
                  <a:solidFill>
                    <a:schemeClr val="accent1"/>
                  </a:solidFill>
                  <a:latin typeface="+mn-lt"/>
                  <a:ea typeface="+mn-ea"/>
                </a:rPr>
                <a:t>No Golden Master Record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B14D5FA7-CD67-4AD6-B3ED-4897D7BD0C5F}"/>
                </a:ext>
              </a:extLst>
            </p:cNvPr>
            <p:cNvSpPr/>
            <p:nvPr/>
          </p:nvSpPr>
          <p:spPr bwMode="auto">
            <a:xfrm>
              <a:off x="6148558" y="2002925"/>
              <a:ext cx="5305143" cy="3773024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5803AA-C9CD-4891-AD8A-91EF4AE348F8}"/>
              </a:ext>
            </a:extLst>
          </p:cNvPr>
          <p:cNvSpPr/>
          <p:nvPr/>
        </p:nvSpPr>
        <p:spPr>
          <a:xfrm>
            <a:off x="436853" y="5857064"/>
            <a:ext cx="5135157" cy="461665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Consolidate master sources, remove manual processes and create consolidated data platform and reporting solutions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87FB771-193A-4AE1-B36C-619F347E44CD}"/>
              </a:ext>
            </a:extLst>
          </p:cNvPr>
          <p:cNvSpPr/>
          <p:nvPr/>
        </p:nvSpPr>
        <p:spPr>
          <a:xfrm>
            <a:off x="6148557" y="5845331"/>
            <a:ext cx="5606590" cy="461665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cs typeface="Arial"/>
              </a:rPr>
              <a:t>Golden</a:t>
            </a:r>
            <a:r>
              <a:rPr lang="en-GB" sz="1200">
                <a:solidFill>
                  <a:schemeClr val="bg1"/>
                </a:solidFill>
                <a:cs typeface="Arial"/>
              </a:rPr>
              <a:t> master</a:t>
            </a:r>
            <a:r>
              <a:rPr lang="en-US" sz="1200">
                <a:solidFill>
                  <a:schemeClr val="bg1"/>
                </a:solidFill>
                <a:cs typeface="Arial"/>
              </a:rPr>
              <a:t> record definition fully implemented </a:t>
            </a:r>
            <a:r>
              <a:rPr lang="en-GB" sz="1200">
                <a:solidFill>
                  <a:schemeClr val="bg1"/>
                </a:solidFill>
                <a:cs typeface="Arial"/>
              </a:rPr>
              <a:t>improving data quality and minimizing reporting </a:t>
            </a:r>
            <a:r>
              <a:rPr lang="en-US" sz="1200">
                <a:solidFill>
                  <a:schemeClr val="bg1"/>
                </a:solidFill>
                <a:cs typeface="Arial"/>
              </a:rPr>
              <a:t>errors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64" name="Flowchart: Magnetic Disk 63">
            <a:extLst>
              <a:ext uri="{FF2B5EF4-FFF2-40B4-BE49-F238E27FC236}">
                <a16:creationId xmlns:a16="http://schemas.microsoft.com/office/drawing/2014/main" id="{49EBA943-3619-485D-8842-454C6B01F656}"/>
              </a:ext>
            </a:extLst>
          </p:cNvPr>
          <p:cNvSpPr/>
          <p:nvPr/>
        </p:nvSpPr>
        <p:spPr bwMode="auto">
          <a:xfrm>
            <a:off x="4610772" y="3355674"/>
            <a:ext cx="734602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58C0FC-F842-481D-A3C6-0178061B683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63923" y="3354603"/>
            <a:ext cx="505890" cy="468004"/>
          </a:xfrm>
          <a:prstGeom prst="rect">
            <a:avLst/>
          </a:prstGeom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B14BC9-B13D-41BF-90A9-5AACC9FEFC70}"/>
              </a:ext>
            </a:extLst>
          </p:cNvPr>
          <p:cNvCxnSpPr>
            <a:cxnSpLocks/>
            <a:endCxn id="4" idx="1"/>
          </p:cNvCxnSpPr>
          <p:nvPr/>
        </p:nvCxnSpPr>
        <p:spPr bwMode="auto">
          <a:xfrm flipV="1">
            <a:off x="1735802" y="3588605"/>
            <a:ext cx="528121" cy="67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Flowchart: Magnetic Disk 65">
            <a:extLst>
              <a:ext uri="{FF2B5EF4-FFF2-40B4-BE49-F238E27FC236}">
                <a16:creationId xmlns:a16="http://schemas.microsoft.com/office/drawing/2014/main" id="{34F5F909-3301-4FFD-A889-34400B468063}"/>
              </a:ext>
            </a:extLst>
          </p:cNvPr>
          <p:cNvSpPr/>
          <p:nvPr/>
        </p:nvSpPr>
        <p:spPr bwMode="auto">
          <a:xfrm>
            <a:off x="2815740" y="3343985"/>
            <a:ext cx="709606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K)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A25CD39-87AA-441E-B22B-9440C87B3648}"/>
              </a:ext>
            </a:extLst>
          </p:cNvPr>
          <p:cNvCxnSpPr>
            <a:cxnSpLocks/>
            <a:stCxn id="66" idx="3"/>
          </p:cNvCxnSpPr>
          <p:nvPr/>
        </p:nvCxnSpPr>
        <p:spPr bwMode="auto">
          <a:xfrm flipH="1">
            <a:off x="3138527" y="3812235"/>
            <a:ext cx="32016" cy="3075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9" name="Picture 68">
            <a:extLst>
              <a:ext uri="{FF2B5EF4-FFF2-40B4-BE49-F238E27FC236}">
                <a16:creationId xmlns:a16="http://schemas.microsoft.com/office/drawing/2014/main" id="{774B0694-D466-4E6E-B4D8-8F7424B9460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79417" y="2574020"/>
            <a:ext cx="5324532" cy="3000911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AC6C5FF9-0ABA-4552-B952-C6282F1E626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63917B-ADFE-42B0-BBC5-1F771C195204}"/>
              </a:ext>
            </a:extLst>
          </p:cNvPr>
          <p:cNvSpPr/>
          <p:nvPr/>
        </p:nvSpPr>
        <p:spPr>
          <a:xfrm>
            <a:off x="101359" y="5574931"/>
            <a:ext cx="945142" cy="27699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Solutions: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496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Quality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CF4344-82A4-4E47-96F9-6F7705507E24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Progress has been made over the last 12 months in reporting and improving data quality; however some issues are still being resolved manually leading to lack of trust in the data and consequently perception of data issues</a:t>
            </a:r>
          </a:p>
          <a:p>
            <a:pPr lvl="1">
              <a:spcAft>
                <a:spcPts val="133"/>
              </a:spcAft>
            </a:pP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98004-932B-43D4-8E0D-8EBDA60D1E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100" y="1664014"/>
            <a:ext cx="4935221" cy="270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51F3BC0-C5AF-42AB-B14D-820CB7F75E5E}"/>
              </a:ext>
            </a:extLst>
          </p:cNvPr>
          <p:cNvSpPr/>
          <p:nvPr/>
        </p:nvSpPr>
        <p:spPr>
          <a:xfrm>
            <a:off x="6496100" y="4462993"/>
            <a:ext cx="4935221" cy="1015663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The Golden thread DQ completeness score and data alignment across various platforms for Worker focused on 5 data points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Worker id, Worker name, Status, Username, Email addr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bg1"/>
              </a:solidFill>
            </a:endParaRPr>
          </a:p>
          <a:p>
            <a:r>
              <a:rPr lang="en-GB" sz="1200" dirty="0">
                <a:solidFill>
                  <a:schemeClr val="bg1"/>
                </a:solidFill>
              </a:rPr>
              <a:t>We now need to progress on the validity of the data within the field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7C3C58-E9E7-41F3-B0FB-EFE1136F10D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" t="8610"/>
          <a:stretch/>
        </p:blipFill>
        <p:spPr>
          <a:xfrm>
            <a:off x="637586" y="1676750"/>
            <a:ext cx="5121434" cy="270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5910D9-8EB5-47E7-A6C4-896EE37C59E8}"/>
              </a:ext>
            </a:extLst>
          </p:cNvPr>
          <p:cNvSpPr/>
          <p:nvPr/>
        </p:nvSpPr>
        <p:spPr>
          <a:xfrm>
            <a:off x="637585" y="4465574"/>
            <a:ext cx="5121433" cy="1015663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An example of the UK Contractor DQ report – </a:t>
            </a:r>
            <a:r>
              <a:rPr lang="en-GB" sz="1200" dirty="0" err="1">
                <a:solidFill>
                  <a:schemeClr val="bg1"/>
                </a:solidFill>
              </a:rPr>
              <a:t>MyHub</a:t>
            </a:r>
            <a:r>
              <a:rPr lang="en-GB" sz="1200" dirty="0">
                <a:solidFill>
                  <a:schemeClr val="bg1"/>
                </a:solidFill>
              </a:rPr>
              <a:t> v Fieldglass</a:t>
            </a:r>
          </a:p>
          <a:p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8.6% (58 Contactors) have inaccurate or misaligned cost cent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42.5% (286</a:t>
            </a:r>
            <a:r>
              <a:rPr lang="en-GB" sz="1200" dirty="0">
                <a:solidFill>
                  <a:schemeClr val="bg1"/>
                </a:solidFill>
              </a:rPr>
              <a:t> Contactors</a:t>
            </a:r>
            <a:r>
              <a:rPr lang="en-GB" sz="1200" dirty="0">
                <a:solidFill>
                  <a:schemeClr val="bg1"/>
                </a:solidFill>
                <a:cs typeface="Arial"/>
              </a:rPr>
              <a:t>) have inaccurate start and termination dates. 24.5% (164</a:t>
            </a:r>
            <a:r>
              <a:rPr lang="en-GB" sz="1200" dirty="0">
                <a:solidFill>
                  <a:schemeClr val="bg1"/>
                </a:solidFill>
              </a:rPr>
              <a:t> Contactors) have an invalid or missing Manag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8E194B-38B0-4881-9C75-BAAD46B86DF7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4F4560-0DBB-440F-830C-66B4BD3CCB90}"/>
              </a:ext>
            </a:extLst>
          </p:cNvPr>
          <p:cNvSpPr/>
          <p:nvPr/>
        </p:nvSpPr>
        <p:spPr>
          <a:xfrm>
            <a:off x="623861" y="5794238"/>
            <a:ext cx="10807460" cy="27699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Workforce Data Domain project will; catalogue data and apply quality thresholds, introduce comprehensive quality reporting and ongoing data governanc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BCD332F-7D75-4305-A747-41981E747E81}"/>
              </a:ext>
            </a:extLst>
          </p:cNvPr>
          <p:cNvSpPr/>
          <p:nvPr/>
        </p:nvSpPr>
        <p:spPr>
          <a:xfrm>
            <a:off x="288367" y="5512105"/>
            <a:ext cx="945142" cy="27699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Solutions: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4027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00148C"/>
                </a:solidFill>
                <a:cs typeface="Arial"/>
              </a:rPr>
              <a:t>HR versus Finance Headcount Differences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A4C3C7-15E2-49A9-A949-FCFA7DF47E99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 dirty="0">
                <a:solidFill>
                  <a:srgbClr val="00148C"/>
                </a:solidFill>
                <a:cs typeface="Arial"/>
              </a:rPr>
              <a:t>Today business users complain our total workforce numbers do not align between our HR and Finance systems and find it hard to report on them</a:t>
            </a:r>
          </a:p>
          <a:p>
            <a:pPr lvl="1">
              <a:spcAft>
                <a:spcPts val="133"/>
              </a:spcAft>
            </a:pPr>
            <a:endParaRPr lang="en-US" sz="1600" b="1" u="sng" dirty="0">
              <a:solidFill>
                <a:srgbClr val="00148C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680E7F-3871-4AEB-9C11-7CDF8FFE0191}"/>
              </a:ext>
            </a:extLst>
          </p:cNvPr>
          <p:cNvSpPr/>
          <p:nvPr/>
        </p:nvSpPr>
        <p:spPr>
          <a:xfrm>
            <a:off x="510906" y="1464195"/>
            <a:ext cx="6337546" cy="210826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 b="1" dirty="0">
                <a:solidFill>
                  <a:schemeClr val="bg1"/>
                </a:solidFill>
                <a:cs typeface="Arial"/>
              </a:rPr>
              <a:t>We have an absence of agreed common definitions, </a:t>
            </a:r>
            <a:r>
              <a:rPr lang="en-US" sz="1600" b="1" dirty="0" err="1">
                <a:solidFill>
                  <a:schemeClr val="bg1"/>
                </a:solidFill>
                <a:cs typeface="Arial"/>
              </a:rPr>
              <a:t>ie</a:t>
            </a:r>
            <a:r>
              <a:rPr lang="en-US" sz="1600" b="1" dirty="0">
                <a:solidFill>
                  <a:schemeClr val="bg1"/>
                </a:solidFill>
                <a:cs typeface="Arial"/>
              </a:rPr>
              <a:t>:</a:t>
            </a:r>
          </a:p>
          <a:p>
            <a:pPr>
              <a:spcAft>
                <a:spcPts val="133"/>
              </a:spcAft>
            </a:pPr>
            <a:endParaRPr lang="en-US" sz="1200" b="1" dirty="0">
              <a:solidFill>
                <a:schemeClr val="bg1"/>
              </a:solidFill>
              <a:cs typeface="Arial"/>
            </a:endParaRPr>
          </a:p>
          <a:p>
            <a:pPr>
              <a:spcAft>
                <a:spcPts val="133"/>
              </a:spcAft>
            </a:pPr>
            <a:r>
              <a:rPr lang="en-US" sz="1200" b="1" dirty="0">
                <a:solidFill>
                  <a:schemeClr val="bg1"/>
                </a:solidFill>
                <a:cs typeface="Arial"/>
              </a:rPr>
              <a:t>Head count</a:t>
            </a:r>
          </a:p>
          <a:p>
            <a:pPr>
              <a:spcAft>
                <a:spcPts val="133"/>
              </a:spcAft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“Count of the number of people who work in the organization at a particular point in time; including employees and contractors but not managed service providers”</a:t>
            </a:r>
          </a:p>
          <a:p>
            <a:pPr>
              <a:spcAft>
                <a:spcPts val="133"/>
              </a:spcAft>
            </a:pPr>
            <a:endParaRPr lang="en-US" sz="1200" b="1" dirty="0">
              <a:solidFill>
                <a:schemeClr val="bg1"/>
              </a:solidFill>
              <a:cs typeface="Arial"/>
            </a:endParaRPr>
          </a:p>
          <a:p>
            <a:pPr>
              <a:spcAft>
                <a:spcPts val="133"/>
              </a:spcAft>
            </a:pPr>
            <a:r>
              <a:rPr lang="en-US" sz="1200" b="1" dirty="0">
                <a:solidFill>
                  <a:schemeClr val="bg1"/>
                </a:solidFill>
                <a:cs typeface="Arial"/>
              </a:rPr>
              <a:t>FTE – Full time equivalent</a:t>
            </a:r>
          </a:p>
          <a:p>
            <a:pPr>
              <a:spcAft>
                <a:spcPts val="133"/>
              </a:spcAft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“Refers to a unit of measurement based on the total number of hours worked that shows how many full-time equivalent employees in the organization at a particular point in time; across employees, contractors and some managed service providers”</a:t>
            </a:r>
            <a:endParaRPr lang="en-US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1BFD13-3F10-462C-A20D-CA3296F773D6}"/>
              </a:ext>
            </a:extLst>
          </p:cNvPr>
          <p:cNvSpPr/>
          <p:nvPr/>
        </p:nvSpPr>
        <p:spPr>
          <a:xfrm>
            <a:off x="513357" y="3686435"/>
            <a:ext cx="6335018" cy="173893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600" b="1">
                <a:solidFill>
                  <a:srgbClr val="00148C"/>
                </a:solidFill>
                <a:cs typeface="Arial"/>
              </a:rPr>
              <a:t>Differences in how we manage heads / FTE not always known:</a:t>
            </a:r>
          </a:p>
          <a:p>
            <a:pPr>
              <a:spcAft>
                <a:spcPts val="133"/>
              </a:spcAft>
            </a:pPr>
            <a:endParaRPr lang="en-US" sz="1600" b="1">
              <a:solidFill>
                <a:srgbClr val="00148C"/>
              </a:solidFill>
              <a:cs typeface="Arial"/>
            </a:endParaRP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Timing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figures will vary based upon point in time they are taken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Proces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</a:t>
            </a:r>
            <a:r>
              <a:rPr lang="en-US" sz="1400" err="1">
                <a:solidFill>
                  <a:srgbClr val="00148C"/>
                </a:solidFill>
                <a:cs typeface="Arial"/>
              </a:rPr>
              <a:t>centralised</a:t>
            </a:r>
            <a:r>
              <a:rPr lang="en-US" sz="1400">
                <a:solidFill>
                  <a:srgbClr val="00148C"/>
                </a:solidFill>
                <a:cs typeface="Arial"/>
              </a:rPr>
              <a:t> costs but organization aligned heads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Standard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Finance org structure different to HR org structure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r>
              <a:rPr lang="en-US" sz="1400" b="1">
                <a:solidFill>
                  <a:srgbClr val="00148C"/>
                </a:solidFill>
                <a:cs typeface="Arial"/>
              </a:rPr>
              <a:t>Data errors </a:t>
            </a:r>
            <a:r>
              <a:rPr lang="en-US" sz="1400">
                <a:solidFill>
                  <a:srgbClr val="00148C"/>
                </a:solidFill>
                <a:cs typeface="Arial"/>
              </a:rPr>
              <a:t>; Incorrect employee data e.g. cost </a:t>
            </a:r>
            <a:r>
              <a:rPr lang="en-US" sz="1400" err="1">
                <a:solidFill>
                  <a:srgbClr val="00148C"/>
                </a:solidFill>
                <a:cs typeface="Arial"/>
              </a:rPr>
              <a:t>centre</a:t>
            </a:r>
            <a:r>
              <a:rPr lang="en-US" sz="1400">
                <a:solidFill>
                  <a:srgbClr val="00148C"/>
                </a:solidFill>
                <a:cs typeface="Arial"/>
              </a:rPr>
              <a:t>, organization unit</a:t>
            </a:r>
          </a:p>
          <a:p>
            <a:pPr marL="285750" indent="-285750">
              <a:spcAft>
                <a:spcPts val="133"/>
              </a:spcAft>
              <a:buFontTx/>
              <a:buChar char="-"/>
            </a:pPr>
            <a:endParaRPr lang="en-US" sz="1400">
              <a:solidFill>
                <a:srgbClr val="00148C"/>
              </a:solidFill>
              <a:cs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003CE7-FABF-4AAF-8B57-33EE6EFBAFCB}"/>
              </a:ext>
            </a:extLst>
          </p:cNvPr>
          <p:cNvSpPr/>
          <p:nvPr/>
        </p:nvSpPr>
        <p:spPr>
          <a:xfrm>
            <a:off x="11385685" y="1603230"/>
            <a:ext cx="702942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900" b="1"/>
              <a:t>498.9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1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2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3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2.9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6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92.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7.5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7.7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DCDA5AF-42BF-4096-B20F-2BD82E82F912}"/>
              </a:ext>
            </a:extLst>
          </p:cNvPr>
          <p:cNvGrpSpPr/>
          <p:nvPr/>
        </p:nvGrpSpPr>
        <p:grpSpPr>
          <a:xfrm>
            <a:off x="6995934" y="1254839"/>
            <a:ext cx="4774403" cy="5316584"/>
            <a:chOff x="7261933" y="1350843"/>
            <a:chExt cx="4774403" cy="5316584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483B2BE-A390-418C-8754-B4842D450C9B}"/>
                </a:ext>
              </a:extLst>
            </p:cNvPr>
            <p:cNvGrpSpPr/>
            <p:nvPr/>
          </p:nvGrpSpPr>
          <p:grpSpPr>
            <a:xfrm>
              <a:off x="7261933" y="1350843"/>
              <a:ext cx="4774403" cy="5316584"/>
              <a:chOff x="7421102" y="1398920"/>
              <a:chExt cx="4774403" cy="5316584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EB51ACC-AE12-4F7E-90B9-629C04D9E3E1}"/>
                  </a:ext>
                </a:extLst>
              </p:cNvPr>
              <p:cNvGrpSpPr/>
              <p:nvPr/>
            </p:nvGrpSpPr>
            <p:grpSpPr>
              <a:xfrm>
                <a:off x="10001156" y="1717863"/>
                <a:ext cx="1864557" cy="4347940"/>
                <a:chOff x="9310976" y="1990087"/>
                <a:chExt cx="2223686" cy="4434327"/>
              </a:xfrm>
            </p:grpSpPr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ACD37FEA-E285-40EB-B898-A4F0E6BA5D01}"/>
                    </a:ext>
                  </a:extLst>
                </p:cNvPr>
                <p:cNvGrpSpPr/>
                <p:nvPr/>
              </p:nvGrpSpPr>
              <p:grpSpPr>
                <a:xfrm>
                  <a:off x="9310976" y="1990087"/>
                  <a:ext cx="2223686" cy="3676637"/>
                  <a:chOff x="283607" y="1534116"/>
                  <a:chExt cx="1127647" cy="3676637"/>
                </a:xfrm>
                <a:solidFill>
                  <a:schemeClr val="accent6">
                    <a:lumMod val="75000"/>
                  </a:schemeClr>
                </a:solidFill>
              </p:grpSpPr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B9990D26-67DC-4C56-B02C-BD9E5947E7A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3607" y="1534116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&amp;O</a:t>
                    </a:r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88E9E28E-7FF9-43E2-ABAE-94E1D2BDD5F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000829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Operations</a:t>
                    </a:r>
                  </a:p>
                </p:txBody>
              </p:sp>
              <p:sp>
                <p:nvSpPr>
                  <p:cNvPr id="31" name="Rectangle 30">
                    <a:extLst>
                      <a:ext uri="{FF2B5EF4-FFF2-40B4-BE49-F238E27FC236}">
                        <a16:creationId xmlns:a16="http://schemas.microsoft.com/office/drawing/2014/main" id="{292BDCAC-BCB4-4181-BB3C-81F5A086066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474261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Networks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C9907FC0-4738-4166-BA2A-CC46C90674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947693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End Use Services 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027DFE3B-4D48-4FF0-BA4B-7559ABD1F35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421125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loud &amp; Hosting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1F89BF03-57AD-448F-BA8E-C02C341DF1F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894557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ommercial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B617FEB9-A864-4D82-BB2C-058184C945BB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367989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Subscription</a:t>
                    </a:r>
                  </a:p>
                </p:txBody>
              </p:sp>
              <p:sp>
                <p:nvSpPr>
                  <p:cNvPr id="36" name="Rectangle 35">
                    <a:extLst>
                      <a:ext uri="{FF2B5EF4-FFF2-40B4-BE49-F238E27FC236}">
                        <a16:creationId xmlns:a16="http://schemas.microsoft.com/office/drawing/2014/main" id="{23A70C9C-7B18-4FA0-BCCF-4DFDD2F694E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841421"/>
                    <a:ext cx="741627" cy="369332"/>
                  </a:xfrm>
                  <a:prstGeom prst="rect">
                    <a:avLst/>
                  </a:prstGeom>
                  <a:grpFill/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Program Delivery</a:t>
                    </a:r>
                  </a:p>
                </p:txBody>
              </p:sp>
            </p:grp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9ED3AA98-F4DC-44B1-90F0-9904E0B7BCCF}"/>
                    </a:ext>
                  </a:extLst>
                </p:cNvPr>
                <p:cNvCxnSpPr/>
                <p:nvPr/>
              </p:nvCxnSpPr>
              <p:spPr bwMode="auto">
                <a:xfrm flipH="1">
                  <a:off x="9688722" y="2359419"/>
                  <a:ext cx="3332" cy="4064995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5ED674F2-85C1-45A5-8D2C-8CC95D875301}"/>
                    </a:ext>
                  </a:extLst>
                </p:cNvPr>
                <p:cNvCxnSpPr>
                  <a:endCxn id="30" idx="1"/>
                </p:cNvCxnSpPr>
                <p:nvPr/>
              </p:nvCxnSpPr>
              <p:spPr bwMode="auto">
                <a:xfrm>
                  <a:off x="9692054" y="264146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F4A1D9BC-3EBB-4962-8C3E-93701DE5AB7F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310401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1C670970-7E5A-4F5C-958B-33A4B40BFA73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360382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EBECF2CD-FFF6-4F35-BD74-0F3767E9ABEC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4061762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2165C8B9-77EF-4FC2-A1F1-82CE41C0EFCD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4548494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4557E328-0021-4BD8-9163-5D734ACDA9EF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500862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E2BE6A42-A635-4FDE-8845-9266056A0F7C}"/>
                    </a:ext>
                  </a:extLst>
                </p:cNvPr>
                <p:cNvCxnSpPr/>
                <p:nvPr/>
              </p:nvCxnSpPr>
              <p:spPr bwMode="auto">
                <a:xfrm>
                  <a:off x="9692054" y="548205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568A75B-DECF-424D-A016-920B1938CF4B}"/>
                  </a:ext>
                </a:extLst>
              </p:cNvPr>
              <p:cNvGrpSpPr/>
              <p:nvPr/>
            </p:nvGrpSpPr>
            <p:grpSpPr>
              <a:xfrm>
                <a:off x="7542005" y="1717863"/>
                <a:ext cx="1864557" cy="4997641"/>
                <a:chOff x="4697563" y="1227889"/>
                <a:chExt cx="2223686" cy="5096937"/>
              </a:xfrm>
            </p:grpSpPr>
            <p:grpSp>
              <p:nvGrpSpPr>
                <p:cNvPr id="9" name="Group 8">
                  <a:extLst>
                    <a:ext uri="{FF2B5EF4-FFF2-40B4-BE49-F238E27FC236}">
                      <a16:creationId xmlns:a16="http://schemas.microsoft.com/office/drawing/2014/main" id="{19F80AB9-0B70-4D94-B1F3-13153AE1D4DD}"/>
                    </a:ext>
                  </a:extLst>
                </p:cNvPr>
                <p:cNvGrpSpPr/>
                <p:nvPr/>
              </p:nvGrpSpPr>
              <p:grpSpPr>
                <a:xfrm>
                  <a:off x="4697563" y="1227889"/>
                  <a:ext cx="2223686" cy="5096937"/>
                  <a:chOff x="283607" y="1534116"/>
                  <a:chExt cx="1127647" cy="5096937"/>
                </a:xfrm>
              </p:grpSpPr>
              <p:sp>
                <p:nvSpPr>
                  <p:cNvPr id="8" name="Rectangle 7">
                    <a:extLst>
                      <a:ext uri="{FF2B5EF4-FFF2-40B4-BE49-F238E27FC236}">
                        <a16:creationId xmlns:a16="http://schemas.microsoft.com/office/drawing/2014/main" id="{59F3DAB7-A41F-48E0-A998-74F918A7839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3607" y="1534116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&amp;O</a:t>
                    </a:r>
                  </a:p>
                </p:txBody>
              </p:sp>
              <p:sp>
                <p:nvSpPr>
                  <p:cNvPr id="14" name="Rectangle 13">
                    <a:extLst>
                      <a:ext uri="{FF2B5EF4-FFF2-40B4-BE49-F238E27FC236}">
                        <a16:creationId xmlns:a16="http://schemas.microsoft.com/office/drawing/2014/main" id="{51C912B5-716B-4DF8-AD63-337537608BB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000829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IT Operations</a:t>
                    </a:r>
                  </a:p>
                </p:txBody>
              </p:sp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985E7416-3D3E-4C28-85E6-58B19044AB1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47426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Network Infra Services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6" name="Rectangle 15">
                    <a:extLst>
                      <a:ext uri="{FF2B5EF4-FFF2-40B4-BE49-F238E27FC236}">
                        <a16:creationId xmlns:a16="http://schemas.microsoft.com/office/drawing/2014/main" id="{AE832F63-F7B9-46B9-A14E-2446D259DA3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2947693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End User Experience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1AB6D34C-CC89-46D0-BCAD-63510602353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421125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Cloud &amp; Hosting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8" name="Rectangle 17">
                    <a:extLst>
                      <a:ext uri="{FF2B5EF4-FFF2-40B4-BE49-F238E27FC236}">
                        <a16:creationId xmlns:a16="http://schemas.microsoft.com/office/drawing/2014/main" id="{2F64D9A6-B70A-49A5-A65C-3489373A4DA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3894557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IT Commercial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  <p:sp>
                <p:nvSpPr>
                  <p:cNvPr id="19" name="Rectangle 18">
                    <a:extLst>
                      <a:ext uri="{FF2B5EF4-FFF2-40B4-BE49-F238E27FC236}">
                        <a16:creationId xmlns:a16="http://schemas.microsoft.com/office/drawing/2014/main" id="{2C710B28-DAA6-4172-A7AE-265E5CAFEEA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367989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Global Infrastructure, Audit &amp; Controls</a:t>
                    </a:r>
                  </a:p>
                </p:txBody>
              </p:sp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B037E393-87A5-4FE6-81EA-328FA343EBA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484142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Strategy, Performance &amp; Infrastructure Solution Delivery</a:t>
                    </a:r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400F260A-0394-46C9-BF1D-F5F275E69A04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5314853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Strategic Business Relationship Management</a:t>
                    </a:r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41436033-CE7F-4EC4-933B-0E9DDA6C339C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5788285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latin typeface="+mn-lt"/>
                        <a:cs typeface="Arial"/>
                      </a:rPr>
                      <a:t>UK CNI</a:t>
                    </a:r>
                  </a:p>
                </p:txBody>
              </p:sp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55E9FB5D-1825-4EC1-B73A-427A3F411FC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69627" y="6261721"/>
                    <a:ext cx="741627" cy="369332"/>
                  </a:xfrm>
                  <a:prstGeom prst="rect">
                    <a:avLst/>
                  </a:prstGeom>
                  <a:solidFill>
                    <a:schemeClr val="accent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34" tIns="45718" rIns="91434" bIns="45718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Aft>
                        <a:spcPts val="450"/>
                      </a:spcAft>
                    </a:pPr>
                    <a:r>
                      <a:rPr lang="en-GB" sz="750">
                        <a:solidFill>
                          <a:schemeClr val="bg1"/>
                        </a:solidFill>
                        <a:cs typeface="Arial"/>
                      </a:rPr>
                      <a:t>US CNI</a:t>
                    </a:r>
                    <a:endParaRPr lang="en-GB" sz="750">
                      <a:solidFill>
                        <a:schemeClr val="bg1"/>
                      </a:solidFill>
                      <a:latin typeface="+mn-lt"/>
                      <a:cs typeface="Arial"/>
                    </a:endParaRPr>
                  </a:p>
                </p:txBody>
              </p:sp>
            </p:grp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568ADC72-C547-4A8C-BFDE-69744612AC6B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1597221"/>
                  <a:ext cx="0" cy="4538427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302B59F6-CBAB-4749-BCCF-7A58EBAB8B44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184429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C72E7A9D-2B83-4136-941C-8200DC9E81EF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2306849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1022058B-B593-4D9B-B566-E4828FB9382E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280665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B376C6B6-7FFB-4E3E-AA36-C477A0C0EB3D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3264593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81961B32-7C5A-4685-BA7B-811B3DF6524F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3751325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DBF62C68-CACB-45DA-8FCA-FFBD92EEAF6E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4211457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B42AEA1D-6A7B-4747-A247-6CA35D877412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4684889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812A7A72-61C8-4EE5-846F-74C73A62A4D0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5202084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7E8C4B4D-7F37-4343-8F61-B3FDA8456B84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5662216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ED8F5F1D-7D2B-43B9-AE45-F066403694B8}"/>
                    </a:ext>
                  </a:extLst>
                </p:cNvPr>
                <p:cNvCxnSpPr/>
                <p:nvPr/>
              </p:nvCxnSpPr>
              <p:spPr bwMode="auto">
                <a:xfrm>
                  <a:off x="5090746" y="6135648"/>
                  <a:ext cx="380142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74838DF-EF0E-45FE-BA65-251B804B309C}"/>
                  </a:ext>
                </a:extLst>
              </p:cNvPr>
              <p:cNvSpPr/>
              <p:nvPr/>
            </p:nvSpPr>
            <p:spPr>
              <a:xfrm>
                <a:off x="7421102" y="1398920"/>
                <a:ext cx="2446504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33"/>
                  </a:spcAft>
                </a:pPr>
                <a:r>
                  <a:rPr lang="en-US" sz="1100" b="1">
                    <a:cs typeface="Arial"/>
                  </a:rPr>
                  <a:t>Example – Org (</a:t>
                </a:r>
                <a:r>
                  <a:rPr lang="en-US" sz="1100" b="1" err="1">
                    <a:cs typeface="Arial"/>
                  </a:rPr>
                  <a:t>MyHub</a:t>
                </a:r>
                <a:r>
                  <a:rPr lang="en-US" sz="1100" b="1">
                    <a:cs typeface="Arial"/>
                  </a:rPr>
                  <a:t>) hierarchy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8F26A96-8340-40B2-AA4C-806D65C46EBB}"/>
                  </a:ext>
                </a:extLst>
              </p:cNvPr>
              <p:cNvSpPr/>
              <p:nvPr/>
            </p:nvSpPr>
            <p:spPr>
              <a:xfrm>
                <a:off x="9896478" y="1398920"/>
                <a:ext cx="2299027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Aft>
                    <a:spcPts val="133"/>
                  </a:spcAft>
                </a:pPr>
                <a:r>
                  <a:rPr lang="en-US" sz="1100" b="1">
                    <a:cs typeface="Arial"/>
                  </a:rPr>
                  <a:t>Example - Cost </a:t>
                </a:r>
                <a:r>
                  <a:rPr lang="en-GB" sz="1100" b="1">
                    <a:cs typeface="Arial"/>
                  </a:rPr>
                  <a:t>(SAP) </a:t>
                </a:r>
                <a:r>
                  <a:rPr lang="en-US" sz="1100" b="1">
                    <a:cs typeface="Arial"/>
                  </a:rPr>
                  <a:t>hierarchy</a:t>
                </a:r>
              </a:p>
            </p:txBody>
          </p:sp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D6B1864-2903-4F0A-9F80-17EADEEA12C1}"/>
                </a:ext>
              </a:extLst>
            </p:cNvPr>
            <p:cNvSpPr/>
            <p:nvPr/>
          </p:nvSpPr>
          <p:spPr bwMode="auto">
            <a:xfrm>
              <a:off x="10504515" y="5365462"/>
              <a:ext cx="1226275" cy="36213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750">
                  <a:solidFill>
                    <a:schemeClr val="bg1"/>
                  </a:solidFill>
                  <a:cs typeface="Arial"/>
                </a:rPr>
                <a:t>CNI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EE10CB6-7D9C-41B9-BAD3-C7C5E0447807}"/>
                </a:ext>
              </a:extLst>
            </p:cNvPr>
            <p:cNvCxnSpPr/>
            <p:nvPr/>
          </p:nvCxnSpPr>
          <p:spPr bwMode="auto">
            <a:xfrm>
              <a:off x="11225512" y="5997879"/>
              <a:ext cx="34467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869AFC87-F223-4BAE-BECA-35C7227ED1C1}"/>
              </a:ext>
            </a:extLst>
          </p:cNvPr>
          <p:cNvSpPr/>
          <p:nvPr/>
        </p:nvSpPr>
        <p:spPr>
          <a:xfrm>
            <a:off x="8898913" y="1618520"/>
            <a:ext cx="70294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900" b="1"/>
              <a:t>686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63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20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48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3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2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14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71</a:t>
            </a:r>
          </a:p>
          <a:p>
            <a:pPr algn="ctr"/>
            <a:endParaRPr lang="en-GB" sz="900"/>
          </a:p>
          <a:p>
            <a:pPr algn="ctr"/>
            <a:endParaRPr lang="en-GB" sz="900"/>
          </a:p>
          <a:p>
            <a:pPr algn="ctr"/>
            <a:r>
              <a:rPr lang="en-GB" sz="900"/>
              <a:t>86</a:t>
            </a:r>
          </a:p>
          <a:p>
            <a:pPr algn="ctr"/>
            <a:endParaRPr lang="en-GB" sz="90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6175EAB-C987-4D4C-B5EE-0264117D6540}"/>
              </a:ext>
            </a:extLst>
          </p:cNvPr>
          <p:cNvSpPr/>
          <p:nvPr/>
        </p:nvSpPr>
        <p:spPr bwMode="auto">
          <a:xfrm>
            <a:off x="10238516" y="5741879"/>
            <a:ext cx="1226275" cy="3621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750">
                <a:solidFill>
                  <a:schemeClr val="bg1"/>
                </a:solidFill>
                <a:cs typeface="Arial"/>
              </a:rPr>
              <a:t>I&amp;O Managemen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5A58BB9-1575-4940-84EE-F49AF8C500D8}"/>
              </a:ext>
            </a:extLst>
          </p:cNvPr>
          <p:cNvCxnSpPr/>
          <p:nvPr/>
        </p:nvCxnSpPr>
        <p:spPr bwMode="auto">
          <a:xfrm>
            <a:off x="9893837" y="5922947"/>
            <a:ext cx="3446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EC7C5E4-4299-49FA-B6D6-77B532C415A2}"/>
              </a:ext>
            </a:extLst>
          </p:cNvPr>
          <p:cNvCxnSpPr/>
          <p:nvPr/>
        </p:nvCxnSpPr>
        <p:spPr bwMode="auto">
          <a:xfrm>
            <a:off x="9893836" y="5438582"/>
            <a:ext cx="3446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236BA721-FD73-4684-8201-5D6FAD80EA81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04E4A63-4517-4CCA-BBA3-3A2EE88642AE}"/>
              </a:ext>
            </a:extLst>
          </p:cNvPr>
          <p:cNvSpPr/>
          <p:nvPr/>
        </p:nvSpPr>
        <p:spPr>
          <a:xfrm>
            <a:off x="510907" y="5876181"/>
            <a:ext cx="6315152" cy="646331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Workforce master data, data quality and a trusted source of HR reporting (Enterprise Data Platform) will help.  Downstream interface controls are required and improvements in report/data user training.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AF934F6-F47B-413B-AAB9-BC2563882104}"/>
              </a:ext>
            </a:extLst>
          </p:cNvPr>
          <p:cNvSpPr/>
          <p:nvPr/>
        </p:nvSpPr>
        <p:spPr>
          <a:xfrm>
            <a:off x="368817" y="5626061"/>
            <a:ext cx="945142" cy="27699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cs typeface="Arial"/>
              </a:rPr>
              <a:t>Solutions: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2252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BFCB-E9C1-4307-B342-9F39692E3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orkforce Data Improve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827986-86D2-4F53-9F9A-1FE20F032AB0}"/>
              </a:ext>
            </a:extLst>
          </p:cNvPr>
          <p:cNvSpPr/>
          <p:nvPr/>
        </p:nvSpPr>
        <p:spPr>
          <a:xfrm>
            <a:off x="430373" y="832929"/>
            <a:ext cx="112225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GB" sz="1600">
                <a:solidFill>
                  <a:srgbClr val="00148C"/>
                </a:solidFill>
                <a:cs typeface="Arial"/>
              </a:rPr>
              <a:t>The Workforce Data Domain &amp; Global Workforce Tracking projects will deliver key products to address majority of these challenges; Single data repository, Master Data, DQ reporting, Data Governance and Data Insights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2BEFA6D-490D-4D7A-A13E-349B66C63BDD}"/>
              </a:ext>
            </a:extLst>
          </p:cNvPr>
          <p:cNvGrpSpPr/>
          <p:nvPr/>
        </p:nvGrpSpPr>
        <p:grpSpPr>
          <a:xfrm>
            <a:off x="427376" y="1523187"/>
            <a:ext cx="5063501" cy="4561108"/>
            <a:chOff x="3757814" y="1313909"/>
            <a:chExt cx="4940632" cy="4427016"/>
          </a:xfrm>
        </p:grpSpPr>
        <p:sp>
          <p:nvSpPr>
            <p:cNvPr id="7" name="Flowchart: Magnetic Disk 6">
              <a:extLst>
                <a:ext uri="{FF2B5EF4-FFF2-40B4-BE49-F238E27FC236}">
                  <a16:creationId xmlns:a16="http://schemas.microsoft.com/office/drawing/2014/main" id="{B81D1DD6-C411-4C17-91D7-583D53814FC5}"/>
                </a:ext>
              </a:extLst>
            </p:cNvPr>
            <p:cNvSpPr/>
            <p:nvPr/>
          </p:nvSpPr>
          <p:spPr bwMode="auto">
            <a:xfrm>
              <a:off x="4058821" y="2374472"/>
              <a:ext cx="843381" cy="454245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 err="1">
                  <a:solidFill>
                    <a:schemeClr val="bg1"/>
                  </a:solidFill>
                  <a:cs typeface="Arial"/>
                </a:rPr>
                <a:t>MyHub</a:t>
              </a:r>
              <a:endParaRPr lang="en-GB" sz="900" b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pic>
          <p:nvPicPr>
            <p:cNvPr id="13" name="Graphic 12" descr="Group">
              <a:extLst>
                <a:ext uri="{FF2B5EF4-FFF2-40B4-BE49-F238E27FC236}">
                  <a16:creationId xmlns:a16="http://schemas.microsoft.com/office/drawing/2014/main" id="{B10EB891-95D6-4D93-92C0-783FF4218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31541" y="1313909"/>
              <a:ext cx="863146" cy="86496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58482B-4A81-4E34-BCAE-B57A1B5D6448}"/>
                </a:ext>
              </a:extLst>
            </p:cNvPr>
            <p:cNvSpPr txBox="1"/>
            <p:nvPr/>
          </p:nvSpPr>
          <p:spPr bwMode="auto">
            <a:xfrm>
              <a:off x="3757814" y="1985272"/>
              <a:ext cx="1430427" cy="358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Employees &amp; US Contingent Worker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pic>
          <p:nvPicPr>
            <p:cNvPr id="15" name="Graphic 14" descr="Group">
              <a:extLst>
                <a:ext uri="{FF2B5EF4-FFF2-40B4-BE49-F238E27FC236}">
                  <a16:creationId xmlns:a16="http://schemas.microsoft.com/office/drawing/2014/main" id="{37F14CBE-6142-4383-9885-4B764EAB8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05637" y="1319091"/>
              <a:ext cx="863146" cy="864963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A97D08C-9744-49E5-A4EB-C6C631F8D1DD}"/>
                </a:ext>
              </a:extLst>
            </p:cNvPr>
            <p:cNvSpPr txBox="1"/>
            <p:nvPr/>
          </p:nvSpPr>
          <p:spPr bwMode="auto">
            <a:xfrm>
              <a:off x="5438514" y="2015483"/>
              <a:ext cx="863146" cy="358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b="0" kern="0">
                  <a:solidFill>
                    <a:schemeClr val="tx1"/>
                  </a:solidFill>
                  <a:latin typeface="+mn-lt"/>
                  <a:ea typeface="+mn-ea"/>
                </a:rPr>
                <a:t>Contingent Workers </a:t>
              </a:r>
            </a:p>
          </p:txBody>
        </p:sp>
        <p:pic>
          <p:nvPicPr>
            <p:cNvPr id="17" name="Graphic 16" descr="Group">
              <a:extLst>
                <a:ext uri="{FF2B5EF4-FFF2-40B4-BE49-F238E27FC236}">
                  <a16:creationId xmlns:a16="http://schemas.microsoft.com/office/drawing/2014/main" id="{95E33A98-911F-4E86-9560-82FF2CCE0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01181" y="1328952"/>
              <a:ext cx="863146" cy="86496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0161EC-E41B-401D-8238-DFE9CDF9FE2B}"/>
                </a:ext>
              </a:extLst>
            </p:cNvPr>
            <p:cNvSpPr txBox="1"/>
            <p:nvPr/>
          </p:nvSpPr>
          <p:spPr bwMode="auto">
            <a:xfrm>
              <a:off x="7553712" y="2041494"/>
              <a:ext cx="387367" cy="174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200" kern="0"/>
                <a:t>MSPs</a:t>
              </a:r>
              <a:endParaRPr lang="en-GB" sz="1200" b="0" kern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DB6647F-8EF8-4885-82D3-8576E4BF452F}"/>
                </a:ext>
              </a:extLst>
            </p:cNvPr>
            <p:cNvCxnSpPr>
              <a:cxnSpLocks/>
              <a:stCxn id="50" idx="3"/>
              <a:endCxn id="22" idx="0"/>
            </p:cNvCxnSpPr>
            <p:nvPr/>
          </p:nvCxnSpPr>
          <p:spPr bwMode="auto">
            <a:xfrm>
              <a:off x="6201248" y="4405765"/>
              <a:ext cx="644301" cy="69939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D8C763-55FD-4D01-AD8B-B337C25940B9}"/>
                </a:ext>
              </a:extLst>
            </p:cNvPr>
            <p:cNvCxnSpPr>
              <a:cxnSpLocks/>
              <a:stCxn id="50" idx="3"/>
              <a:endCxn id="36" idx="0"/>
            </p:cNvCxnSpPr>
            <p:nvPr/>
          </p:nvCxnSpPr>
          <p:spPr bwMode="auto">
            <a:xfrm flipH="1">
              <a:off x="5031158" y="4405765"/>
              <a:ext cx="1170090" cy="5150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4560087-C750-4BFC-BCDB-75D004E7EA8F}"/>
                </a:ext>
              </a:extLst>
            </p:cNvPr>
            <p:cNvCxnSpPr>
              <a:cxnSpLocks/>
              <a:stCxn id="50" idx="3"/>
              <a:endCxn id="35" idx="3"/>
            </p:cNvCxnSpPr>
            <p:nvPr/>
          </p:nvCxnSpPr>
          <p:spPr bwMode="auto">
            <a:xfrm flipH="1">
              <a:off x="4569713" y="4405765"/>
              <a:ext cx="1631535" cy="39915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5A3428F-302B-41C4-B1C3-9D6ADAB97124}"/>
                </a:ext>
              </a:extLst>
            </p:cNvPr>
            <p:cNvCxnSpPr>
              <a:cxnSpLocks/>
              <a:stCxn id="50" idx="3"/>
              <a:endCxn id="34" idx="0"/>
            </p:cNvCxnSpPr>
            <p:nvPr/>
          </p:nvCxnSpPr>
          <p:spPr bwMode="auto">
            <a:xfrm flipH="1">
              <a:off x="5904742" y="4405765"/>
              <a:ext cx="296506" cy="7162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2" name="Graphic 21" descr="Document">
              <a:extLst>
                <a:ext uri="{FF2B5EF4-FFF2-40B4-BE49-F238E27FC236}">
                  <a16:creationId xmlns:a16="http://schemas.microsoft.com/office/drawing/2014/main" id="{7DFEB34F-E7F9-4B1F-8FF9-F26386A65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61553" y="5105162"/>
              <a:ext cx="367991" cy="368766"/>
            </a:xfrm>
            <a:prstGeom prst="rect">
              <a:avLst/>
            </a:prstGeom>
          </p:spPr>
        </p:pic>
        <p:pic>
          <p:nvPicPr>
            <p:cNvPr id="31" name="Graphic 30" descr="Paper">
              <a:extLst>
                <a:ext uri="{FF2B5EF4-FFF2-40B4-BE49-F238E27FC236}">
                  <a16:creationId xmlns:a16="http://schemas.microsoft.com/office/drawing/2014/main" id="{511157CD-C0A5-4379-8F39-1484F808C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95211" y="4900561"/>
              <a:ext cx="367991" cy="368766"/>
            </a:xfrm>
            <a:prstGeom prst="rect">
              <a:avLst/>
            </a:prstGeom>
          </p:spPr>
        </p:pic>
        <p:pic>
          <p:nvPicPr>
            <p:cNvPr id="33" name="Graphic 32" descr="Bar chart RTL">
              <a:extLst>
                <a:ext uri="{FF2B5EF4-FFF2-40B4-BE49-F238E27FC236}">
                  <a16:creationId xmlns:a16="http://schemas.microsoft.com/office/drawing/2014/main" id="{4C31B69E-DED8-4EB7-B15C-C289A8B3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067459" y="4675939"/>
              <a:ext cx="367991" cy="368766"/>
            </a:xfrm>
            <a:prstGeom prst="rect">
              <a:avLst/>
            </a:prstGeom>
          </p:spPr>
        </p:pic>
        <p:pic>
          <p:nvPicPr>
            <p:cNvPr id="34" name="Graphic 33" descr="Statistics">
              <a:extLst>
                <a:ext uri="{FF2B5EF4-FFF2-40B4-BE49-F238E27FC236}">
                  <a16:creationId xmlns:a16="http://schemas.microsoft.com/office/drawing/2014/main" id="{74A55E36-7953-4B5D-9438-9BA3D9433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720746" y="5122043"/>
              <a:ext cx="367991" cy="368766"/>
            </a:xfrm>
            <a:prstGeom prst="rect">
              <a:avLst/>
            </a:prstGeom>
          </p:spPr>
        </p:pic>
        <p:pic>
          <p:nvPicPr>
            <p:cNvPr id="35" name="Graphic 34" descr="Pie chart">
              <a:extLst>
                <a:ext uri="{FF2B5EF4-FFF2-40B4-BE49-F238E27FC236}">
                  <a16:creationId xmlns:a16="http://schemas.microsoft.com/office/drawing/2014/main" id="{682F0EBD-EC5E-491F-B236-AC5799340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01722" y="4620532"/>
              <a:ext cx="367991" cy="368766"/>
            </a:xfrm>
            <a:prstGeom prst="rect">
              <a:avLst/>
            </a:prstGeom>
          </p:spPr>
        </p:pic>
        <p:pic>
          <p:nvPicPr>
            <p:cNvPr id="36" name="Graphic 35" descr="Venn diagram">
              <a:extLst>
                <a:ext uri="{FF2B5EF4-FFF2-40B4-BE49-F238E27FC236}">
                  <a16:creationId xmlns:a16="http://schemas.microsoft.com/office/drawing/2014/main" id="{5849FCC3-DB68-4719-A1A7-965CAC381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847162" y="4920779"/>
              <a:ext cx="367991" cy="368766"/>
            </a:xfrm>
            <a:prstGeom prst="rect">
              <a:avLst/>
            </a:prstGeom>
          </p:spPr>
        </p:pic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D9D06BB-772C-40B6-9234-A1BF1FEF1B05}"/>
                </a:ext>
              </a:extLst>
            </p:cNvPr>
            <p:cNvCxnSpPr>
              <a:cxnSpLocks/>
              <a:stCxn id="50" idx="3"/>
              <a:endCxn id="31" idx="0"/>
            </p:cNvCxnSpPr>
            <p:nvPr/>
          </p:nvCxnSpPr>
          <p:spPr bwMode="auto">
            <a:xfrm>
              <a:off x="6201248" y="4405765"/>
              <a:ext cx="1477959" cy="49479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E0D1F6B-61D0-41D0-A511-EFB8201843AB}"/>
                </a:ext>
              </a:extLst>
            </p:cNvPr>
            <p:cNvCxnSpPr>
              <a:cxnSpLocks/>
              <a:stCxn id="50" idx="3"/>
            </p:cNvCxnSpPr>
            <p:nvPr/>
          </p:nvCxnSpPr>
          <p:spPr bwMode="auto">
            <a:xfrm>
              <a:off x="6201248" y="4405765"/>
              <a:ext cx="1911071" cy="39915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D989F79-00DF-4B6A-8324-EC1775EB9DC5}"/>
                </a:ext>
              </a:extLst>
            </p:cNvPr>
            <p:cNvSpPr/>
            <p:nvPr/>
          </p:nvSpPr>
          <p:spPr bwMode="auto">
            <a:xfrm>
              <a:off x="3807143" y="1417705"/>
              <a:ext cx="4891303" cy="4323220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GB" sz="180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50" name="Flowchart: Magnetic Disk 49">
              <a:extLst>
                <a:ext uri="{FF2B5EF4-FFF2-40B4-BE49-F238E27FC236}">
                  <a16:creationId xmlns:a16="http://schemas.microsoft.com/office/drawing/2014/main" id="{1719E35C-3C5E-498D-BFF1-C0D9604E52C1}"/>
                </a:ext>
              </a:extLst>
            </p:cNvPr>
            <p:cNvSpPr/>
            <p:nvPr/>
          </p:nvSpPr>
          <p:spPr bwMode="auto">
            <a:xfrm>
              <a:off x="5768136" y="3926468"/>
              <a:ext cx="866223" cy="479297"/>
            </a:xfrm>
            <a:prstGeom prst="flowChartMagneticDisk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900" b="1">
                  <a:solidFill>
                    <a:schemeClr val="bg1"/>
                  </a:solidFill>
                  <a:cs typeface="Arial"/>
                </a:rPr>
                <a:t>C</a:t>
              </a:r>
              <a:r>
                <a:rPr lang="en-GB" sz="900" b="1">
                  <a:solidFill>
                    <a:schemeClr val="bg1"/>
                  </a:solidFill>
                  <a:latin typeface="+mn-lt"/>
                  <a:cs typeface="Arial"/>
                </a:rPr>
                <a:t>DP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3511EC8-2AC3-49C3-A460-BD22D7D5F006}"/>
                </a:ext>
              </a:extLst>
            </p:cNvPr>
            <p:cNvSpPr/>
            <p:nvPr/>
          </p:nvSpPr>
          <p:spPr bwMode="auto">
            <a:xfrm>
              <a:off x="5031158" y="3414206"/>
              <a:ext cx="2343686" cy="36000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1050" b="1">
                  <a:solidFill>
                    <a:schemeClr val="bg1"/>
                  </a:solidFill>
                  <a:cs typeface="Arial"/>
                </a:rPr>
                <a:t>Master Data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3BECFD7-BE99-4BE0-AED7-A8F7EA690E32}"/>
                </a:ext>
              </a:extLst>
            </p:cNvPr>
            <p:cNvSpPr/>
            <p:nvPr/>
          </p:nvSpPr>
          <p:spPr bwMode="auto">
            <a:xfrm>
              <a:off x="6702822" y="3986150"/>
              <a:ext cx="1033236" cy="36000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GB" sz="1050" b="1">
                  <a:solidFill>
                    <a:schemeClr val="bg1"/>
                  </a:solidFill>
                  <a:cs typeface="Arial"/>
                </a:rPr>
                <a:t>Data Management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4A76C7F-2F5F-49C1-9C54-E8E9A9D9A810}"/>
                </a:ext>
              </a:extLst>
            </p:cNvPr>
            <p:cNvCxnSpPr>
              <a:cxnSpLocks/>
              <a:stCxn id="7" idx="3"/>
              <a:endCxn id="3" idx="0"/>
            </p:cNvCxnSpPr>
            <p:nvPr/>
          </p:nvCxnSpPr>
          <p:spPr bwMode="auto">
            <a:xfrm>
              <a:off x="4480512" y="2828717"/>
              <a:ext cx="1722489" cy="58549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915A776D-6990-4111-9EF0-AE6675CE10A2}"/>
                </a:ext>
              </a:extLst>
            </p:cNvPr>
            <p:cNvCxnSpPr>
              <a:cxnSpLocks/>
              <a:stCxn id="50" idx="1"/>
              <a:endCxn id="3" idx="2"/>
            </p:cNvCxnSpPr>
            <p:nvPr/>
          </p:nvCxnSpPr>
          <p:spPr bwMode="auto">
            <a:xfrm flipV="1">
              <a:off x="6201248" y="3774206"/>
              <a:ext cx="1753" cy="15226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BF90DF7-3826-47CC-A7F8-09E55E9AF6F9}"/>
              </a:ext>
            </a:extLst>
          </p:cNvPr>
          <p:cNvSpPr/>
          <p:nvPr/>
        </p:nvSpPr>
        <p:spPr>
          <a:xfrm>
            <a:off x="4498034" y="4166386"/>
            <a:ext cx="104547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Gloss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Catalog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Data Qu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Data Modelling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8391F68-6387-4DCD-B28C-C66AC17B59E1}"/>
              </a:ext>
            </a:extLst>
          </p:cNvPr>
          <p:cNvSpPr/>
          <p:nvPr/>
        </p:nvSpPr>
        <p:spPr>
          <a:xfrm>
            <a:off x="5747374" y="1625724"/>
            <a:ext cx="6115809" cy="1264449"/>
          </a:xfrm>
          <a:prstGeom prst="rect">
            <a:avLst/>
          </a:prstGeom>
          <a:solidFill>
            <a:srgbClr val="00148C"/>
          </a:solidFill>
        </p:spPr>
        <p:txBody>
          <a:bodyPr wrap="square">
            <a:spAutoFit/>
          </a:bodyPr>
          <a:lstStyle/>
          <a:p>
            <a:pPr>
              <a:spcAft>
                <a:spcPts val="133"/>
              </a:spcAft>
            </a:pPr>
            <a:r>
              <a:rPr lang="en-US" sz="1200" b="1" dirty="0">
                <a:solidFill>
                  <a:schemeClr val="bg1"/>
                </a:solidFill>
                <a:cs typeface="Arial"/>
              </a:rPr>
              <a:t>Additional Support Required:</a:t>
            </a:r>
          </a:p>
          <a:p>
            <a:pPr>
              <a:spcAft>
                <a:spcPts val="133"/>
              </a:spcAft>
            </a:pPr>
            <a:endParaRPr lang="en-US" sz="1200" b="1" dirty="0">
              <a:solidFill>
                <a:schemeClr val="bg1"/>
              </a:solidFill>
              <a:cs typeface="Arial"/>
            </a:endParaRP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Data Ownership and Governance needs ongoing sponsorship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Wider Enterprise approach to raise reporting/data understanding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Process re-engineering to support data quality improvements at point of capture</a:t>
            </a:r>
          </a:p>
          <a:p>
            <a:pPr marL="171450" indent="-171450">
              <a:spcAft>
                <a:spcPts val="13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cs typeface="Arial"/>
              </a:rPr>
              <a:t>Incentivise Data </a:t>
            </a:r>
            <a:r>
              <a:rPr lang="en-GB" sz="1200">
                <a:solidFill>
                  <a:schemeClr val="bg1"/>
                </a:solidFill>
                <a:cs typeface="Arial"/>
              </a:rPr>
              <a:t>Stewards to </a:t>
            </a:r>
            <a:r>
              <a:rPr lang="en-GB" sz="1200" dirty="0">
                <a:solidFill>
                  <a:schemeClr val="bg1"/>
                </a:solidFill>
                <a:cs typeface="Arial"/>
              </a:rPr>
              <a:t>work on data quality initiatives</a:t>
            </a:r>
            <a:endParaRPr lang="en-US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885A463-D082-4D24-8EF6-0DAED8EB2A7C}"/>
              </a:ext>
            </a:extLst>
          </p:cNvPr>
          <p:cNvSpPr/>
          <p:nvPr/>
        </p:nvSpPr>
        <p:spPr>
          <a:xfrm>
            <a:off x="4124799" y="3698847"/>
            <a:ext cx="13660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Golden Reco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/>
              <a:t>Policies &amp; Procedures</a:t>
            </a:r>
            <a:endParaRPr lang="en-GB" sz="800"/>
          </a:p>
        </p:txBody>
      </p:sp>
      <p:sp>
        <p:nvSpPr>
          <p:cNvPr id="66" name="Flowchart: Magnetic Disk 65">
            <a:extLst>
              <a:ext uri="{FF2B5EF4-FFF2-40B4-BE49-F238E27FC236}">
                <a16:creationId xmlns:a16="http://schemas.microsoft.com/office/drawing/2014/main" id="{442174CD-7D1C-4D0F-8E20-31E2BD0D447C}"/>
              </a:ext>
            </a:extLst>
          </p:cNvPr>
          <p:cNvSpPr/>
          <p:nvPr/>
        </p:nvSpPr>
        <p:spPr bwMode="auto">
          <a:xfrm>
            <a:off x="4682389" y="2568644"/>
            <a:ext cx="734602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S)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933E4C63-FF4D-4F97-9431-DF06370E455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930127" y="2621086"/>
            <a:ext cx="505890" cy="468004"/>
          </a:xfrm>
          <a:prstGeom prst="rect">
            <a:avLst/>
          </a:prstGeom>
        </p:spPr>
      </p:pic>
      <p:sp>
        <p:nvSpPr>
          <p:cNvPr id="71" name="Flowchart: Magnetic Disk 70">
            <a:extLst>
              <a:ext uri="{FF2B5EF4-FFF2-40B4-BE49-F238E27FC236}">
                <a16:creationId xmlns:a16="http://schemas.microsoft.com/office/drawing/2014/main" id="{C5DBA4DC-0EBA-488F-930C-D51D781C0621}"/>
              </a:ext>
            </a:extLst>
          </p:cNvPr>
          <p:cNvSpPr/>
          <p:nvPr/>
        </p:nvSpPr>
        <p:spPr bwMode="auto">
          <a:xfrm>
            <a:off x="2563224" y="2610468"/>
            <a:ext cx="709606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SAP ECC (UK)</a:t>
            </a:r>
          </a:p>
        </p:txBody>
      </p:sp>
      <p:sp>
        <p:nvSpPr>
          <p:cNvPr id="73" name="Flowchart: Magnetic Disk 72">
            <a:extLst>
              <a:ext uri="{FF2B5EF4-FFF2-40B4-BE49-F238E27FC236}">
                <a16:creationId xmlns:a16="http://schemas.microsoft.com/office/drawing/2014/main" id="{875817E6-969E-4D7A-AE00-4212FF99A5B3}"/>
              </a:ext>
            </a:extLst>
          </p:cNvPr>
          <p:cNvSpPr/>
          <p:nvPr/>
        </p:nvSpPr>
        <p:spPr bwMode="auto">
          <a:xfrm>
            <a:off x="3995419" y="2583754"/>
            <a:ext cx="633751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>
                <a:solidFill>
                  <a:schemeClr val="bg1"/>
                </a:solidFill>
                <a:latin typeface="+mn-lt"/>
                <a:cs typeface="Arial"/>
              </a:rPr>
              <a:t>ACG (UK)</a:t>
            </a:r>
          </a:p>
        </p:txBody>
      </p:sp>
      <p:sp>
        <p:nvSpPr>
          <p:cNvPr id="67" name="Flowchart: Magnetic Disk 66">
            <a:extLst>
              <a:ext uri="{FF2B5EF4-FFF2-40B4-BE49-F238E27FC236}">
                <a16:creationId xmlns:a16="http://schemas.microsoft.com/office/drawing/2014/main" id="{AB310C7E-A0DA-4F35-A2D2-D0BC1B2D9DF6}"/>
              </a:ext>
            </a:extLst>
          </p:cNvPr>
          <p:cNvSpPr/>
          <p:nvPr/>
        </p:nvSpPr>
        <p:spPr bwMode="auto">
          <a:xfrm>
            <a:off x="3252692" y="3051205"/>
            <a:ext cx="900084" cy="468250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900" b="1" err="1">
                <a:solidFill>
                  <a:schemeClr val="bg1"/>
                </a:solidFill>
                <a:latin typeface="+mn-lt"/>
                <a:cs typeface="Arial"/>
              </a:rPr>
              <a:t>FieldGlass</a:t>
            </a:r>
            <a:endParaRPr lang="en-GB" sz="900" b="1">
              <a:solidFill>
                <a:schemeClr val="bg1"/>
              </a:solidFill>
              <a:latin typeface="+mn-lt"/>
              <a:cs typeface="Arial"/>
            </a:endParaRPr>
          </a:p>
        </p:txBody>
      </p:sp>
      <p:pic>
        <p:nvPicPr>
          <p:cNvPr id="41" name="Graphic 40" descr="Close">
            <a:extLst>
              <a:ext uri="{FF2B5EF4-FFF2-40B4-BE49-F238E27FC236}">
                <a16:creationId xmlns:a16="http://schemas.microsoft.com/office/drawing/2014/main" id="{2CA547C3-4233-494F-9918-95167F8738F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90959" y="2533749"/>
            <a:ext cx="668342" cy="668342"/>
          </a:xfrm>
          <a:prstGeom prst="rect">
            <a:avLst/>
          </a:prstGeom>
        </p:spPr>
      </p:pic>
      <p:pic>
        <p:nvPicPr>
          <p:cNvPr id="75" name="Graphic 74" descr="Close">
            <a:extLst>
              <a:ext uri="{FF2B5EF4-FFF2-40B4-BE49-F238E27FC236}">
                <a16:creationId xmlns:a16="http://schemas.microsoft.com/office/drawing/2014/main" id="{E768AA9F-DCE7-4C3E-BEAB-55EF393F23A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40642" y="2497442"/>
            <a:ext cx="668342" cy="668342"/>
          </a:xfrm>
          <a:prstGeom prst="rect">
            <a:avLst/>
          </a:prstGeom>
        </p:spPr>
      </p:pic>
      <p:pic>
        <p:nvPicPr>
          <p:cNvPr id="76" name="Graphic 75" descr="Close">
            <a:extLst>
              <a:ext uri="{FF2B5EF4-FFF2-40B4-BE49-F238E27FC236}">
                <a16:creationId xmlns:a16="http://schemas.microsoft.com/office/drawing/2014/main" id="{94007FB8-AC5B-4118-880C-F01EC9580F1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064285" y="2479086"/>
            <a:ext cx="668342" cy="668342"/>
          </a:xfrm>
          <a:prstGeom prst="rect">
            <a:avLst/>
          </a:prstGeom>
        </p:spPr>
      </p:pic>
      <p:pic>
        <p:nvPicPr>
          <p:cNvPr id="77" name="Graphic 76" descr="Close">
            <a:extLst>
              <a:ext uri="{FF2B5EF4-FFF2-40B4-BE49-F238E27FC236}">
                <a16:creationId xmlns:a16="http://schemas.microsoft.com/office/drawing/2014/main" id="{276924CC-E6C4-4E38-B65F-5491E13E477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748426" y="2479086"/>
            <a:ext cx="668342" cy="668342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FF675DA8-77D7-4F15-BE35-78F71840B5A2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9D9253C-8494-49B9-9E6C-221DCF0BDE89}"/>
              </a:ext>
            </a:extLst>
          </p:cNvPr>
          <p:cNvCxnSpPr>
            <a:cxnSpLocks/>
            <a:stCxn id="67" idx="3"/>
            <a:endCxn id="3" idx="0"/>
          </p:cNvCxnSpPr>
          <p:nvPr/>
        </p:nvCxnSpPr>
        <p:spPr bwMode="auto">
          <a:xfrm flipH="1">
            <a:off x="2933374" y="3519455"/>
            <a:ext cx="769360" cy="16764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75533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196D29-2C15-42F1-899C-699DA20095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8071" y="2091119"/>
            <a:ext cx="3366175" cy="492443"/>
          </a:xfrm>
        </p:spPr>
        <p:txBody>
          <a:bodyPr/>
          <a:lstStyle/>
          <a:p>
            <a:r>
              <a:rPr lang="en-US"/>
              <a:t>Appendix</a:t>
            </a:r>
            <a:endParaRPr lang="en-GB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E182857-B9AD-4765-9D31-8E0529A0640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10844" r="10844"/>
          <a:stretch>
            <a:fillRect/>
          </a:stretch>
        </p:blipFill>
        <p:spPr bwMode="gray"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667631B-FCD3-43F2-A1C9-08C4E95D4003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86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2" descr="Why you need a business roadmap - HRKilns">
            <a:extLst>
              <a:ext uri="{FF2B5EF4-FFF2-40B4-BE49-F238E27FC236}">
                <a16:creationId xmlns:a16="http://schemas.microsoft.com/office/drawing/2014/main" id="{BFFB68BF-2611-4426-9882-D33C071B5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530" y="174081"/>
            <a:ext cx="9383150" cy="614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A6443D-C413-4127-9749-B1FBAA3CB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05" y="3791124"/>
            <a:ext cx="1329409" cy="8333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3AC154-8083-4351-B327-08DDEC7E9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’s been do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B10EC5-1D60-4976-A45B-66DB6F543E95}"/>
              </a:ext>
            </a:extLst>
          </p:cNvPr>
          <p:cNvSpPr/>
          <p:nvPr/>
        </p:nvSpPr>
        <p:spPr>
          <a:xfrm>
            <a:off x="6236990" y="4136099"/>
            <a:ext cx="16055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ata use cases / Pain point identified</a:t>
            </a:r>
            <a:endParaRPr lang="en-GB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D7F1D2-BA69-4C17-9AA0-FBC09BD0B28C}"/>
              </a:ext>
            </a:extLst>
          </p:cNvPr>
          <p:cNvSpPr/>
          <p:nvPr/>
        </p:nvSpPr>
        <p:spPr>
          <a:xfrm>
            <a:off x="951662" y="2616732"/>
            <a:ext cx="19396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omain maturity baselined &amp; Governance model built</a:t>
            </a:r>
            <a:endParaRPr lang="en-GB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889BC9-74E0-44A4-9538-52D4D5C3D5B7}"/>
              </a:ext>
            </a:extLst>
          </p:cNvPr>
          <p:cNvSpPr/>
          <p:nvPr/>
        </p:nvSpPr>
        <p:spPr>
          <a:xfrm>
            <a:off x="3723700" y="1579003"/>
            <a:ext cx="19116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Logical &amp; conceptual data model established</a:t>
            </a:r>
            <a:endParaRPr lang="en-GB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32FE44-716F-4E3D-B99C-E6B969601004}"/>
              </a:ext>
            </a:extLst>
          </p:cNvPr>
          <p:cNvSpPr/>
          <p:nvPr/>
        </p:nvSpPr>
        <p:spPr>
          <a:xfrm>
            <a:off x="5508435" y="356766"/>
            <a:ext cx="1829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Q reporting / Manual DQ remediation</a:t>
            </a:r>
            <a:endParaRPr lang="en-GB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167BDF-D099-415A-AB23-E2DBDD0A2D92}"/>
              </a:ext>
            </a:extLst>
          </p:cNvPr>
          <p:cNvSpPr/>
          <p:nvPr/>
        </p:nvSpPr>
        <p:spPr>
          <a:xfrm>
            <a:off x="8615189" y="32402"/>
            <a:ext cx="2159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>
                <a:solidFill>
                  <a:srgbClr val="00148C"/>
                </a:solidFill>
                <a:cs typeface="Arial"/>
              </a:rPr>
              <a:t>Domain vision, strategy, roadmap and business case </a:t>
            </a:r>
            <a:endParaRPr lang="en-GB" sz="1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C22815-43A8-4126-BBA4-B5DEEBFA0C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009" y="2046375"/>
            <a:ext cx="1174601" cy="6885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65D2195-5028-4497-A068-C900203246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3395" y="4688272"/>
            <a:ext cx="1257395" cy="6668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621797F-CF4E-4B0B-8F02-57C1E12E04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6072" y="3310226"/>
            <a:ext cx="1309951" cy="7304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483E30-44A4-471D-90FC-11195A9F89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9166" y="629484"/>
            <a:ext cx="1250972" cy="8869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D9BF028-F32C-41E8-AF28-10EDBA0F10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099" y="870649"/>
            <a:ext cx="1187993" cy="7539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8612" name="Picture 4">
            <a:extLst>
              <a:ext uri="{FF2B5EF4-FFF2-40B4-BE49-F238E27FC236}">
                <a16:creationId xmlns:a16="http://schemas.microsoft.com/office/drawing/2014/main" id="{7C5655C8-6F0C-4A1F-BD24-1F5B57091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530" y="2390658"/>
            <a:ext cx="1174601" cy="7546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991F005-68A4-4461-B80E-93E5952115A4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58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78A06-5D7F-48CD-ADC9-0A6414280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7"/>
            <a:ext cx="11329827" cy="574516"/>
          </a:xfrm>
        </p:spPr>
        <p:txBody>
          <a:bodyPr/>
          <a:lstStyle/>
          <a:p>
            <a:r>
              <a:rPr lang="en-US"/>
              <a:t>Workforce Data Domain Finding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538754E0-F034-4569-B53B-33A872030EC2}"/>
              </a:ext>
            </a:extLst>
          </p:cNvPr>
          <p:cNvSpPr txBox="1">
            <a:spLocks/>
          </p:cNvSpPr>
          <p:nvPr/>
        </p:nvSpPr>
        <p:spPr>
          <a:xfrm>
            <a:off x="466553" y="1205477"/>
            <a:ext cx="11222504" cy="5398980"/>
          </a:xfrm>
        </p:spPr>
        <p:txBody>
          <a:bodyPr anchor="t"/>
          <a:lstStyle>
            <a:defPPr>
              <a:defRPr lang="en-GB"/>
            </a:defPPr>
            <a:lvl1pPr marL="0" indent="0"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lvl="1" indent="-167">
              <a:spcAft>
                <a:spcPts val="533"/>
              </a:spcAft>
            </a:pPr>
            <a:endParaRPr lang="en-US" sz="1600">
              <a:solidFill>
                <a:srgbClr val="00148C"/>
              </a:solidFill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2D4DBA-35BE-4E67-BFD8-A85ADA2BDE37}"/>
              </a:ext>
            </a:extLst>
          </p:cNvPr>
          <p:cNvSpPr/>
          <p:nvPr/>
        </p:nvSpPr>
        <p:spPr>
          <a:xfrm>
            <a:off x="430373" y="832929"/>
            <a:ext cx="11222504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Aft>
                <a:spcPts val="133"/>
              </a:spcAft>
            </a:pPr>
            <a:r>
              <a:rPr lang="en-US" sz="1600">
                <a:solidFill>
                  <a:srgbClr val="00148C"/>
                </a:solidFill>
                <a:cs typeface="Arial"/>
              </a:rPr>
              <a:t>A deep dive was completed on Workforce Domain in 2020 with the following opportunities identified and a roadmap developed to implement changes in parallel with MyHub 2.0:</a:t>
            </a:r>
          </a:p>
          <a:p>
            <a:pPr lvl="1">
              <a:spcAft>
                <a:spcPts val="133"/>
              </a:spcAft>
            </a:pPr>
            <a:endParaRPr lang="en-US" sz="1600" b="1" u="sng">
              <a:solidFill>
                <a:srgbClr val="00148C"/>
              </a:solidFill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FE0D5E-7950-487F-87A6-D227A71055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11"/>
          <a:stretch/>
        </p:blipFill>
        <p:spPr>
          <a:xfrm>
            <a:off x="893145" y="1450003"/>
            <a:ext cx="10404281" cy="49099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F259F4B-794F-4112-8CA0-786640EE25A5}"/>
              </a:ext>
            </a:extLst>
          </p:cNvPr>
          <p:cNvSpPr/>
          <p:nvPr/>
        </p:nvSpPr>
        <p:spPr>
          <a:xfrm>
            <a:off x="-713" y="7954"/>
            <a:ext cx="21839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Internal Use Only</a:t>
            </a:r>
            <a:endParaRPr lang="en-GB" sz="12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802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fSuvqSLu4ebUrAMz.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aKwkYR4GTnWOaOLtG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7DtlTNS4.psaVM1VS4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HH1g1Stmxu.glsE.I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3OKrlh09NdSNKWbeIg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_e.E3yT42oFfBlHr8G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nPCGpS4q2RXSu1Esz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fKIAuSz2Mcehxx5.D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Ty6xiOIMOVtaI0U9I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.NVOOvRO6SBH3ZrUoD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1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solidFill>
          <a:srgbClr val="00148C"/>
        </a:solidFill>
        <a:ln w="9525" cap="flat" cmpd="sng" algn="ctr">
          <a:solidFill>
            <a:sysClr val="window" lastClr="FFFFFF">
              <a:lumMod val="50000"/>
            </a:sysClr>
          </a:solidFill>
          <a:prstDash val="sys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3.xml><?xml version="1.0" encoding="utf-8"?>
<a:theme xmlns:a="http://schemas.openxmlformats.org/drawingml/2006/main" name="2_Titles">
  <a:themeElements>
    <a:clrScheme name="ACN_Standart_2018">
      <a:dk1>
        <a:sysClr val="windowText" lastClr="000000"/>
      </a:dk1>
      <a:lt1>
        <a:sysClr val="window" lastClr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4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5" id="{4007F9DA-96E2-4AF0-BDD4-D195919EC94B}" vid="{DE9766F9-014C-4693-AE2B-35F1D353A35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26E65E3C0F1D45AE3679C1F41F96BE" ma:contentTypeVersion="13" ma:contentTypeDescription="Create a new document." ma:contentTypeScope="" ma:versionID="3a650ee67afc7cce8826e7e9f6fba8df">
  <xsd:schema xmlns:xsd="http://www.w3.org/2001/XMLSchema" xmlns:xs="http://www.w3.org/2001/XMLSchema" xmlns:p="http://schemas.microsoft.com/office/2006/metadata/properties" xmlns:ns3="93d15f5e-d1eb-4ab5-87e0-b0e666ac727c" xmlns:ns4="1023ea03-6310-4bf4-9fac-b9bbf268a7c8" targetNamespace="http://schemas.microsoft.com/office/2006/metadata/properties" ma:root="true" ma:fieldsID="4ca496d4d116ac4f6601f4a2bc9b0af4" ns3:_="" ns4:_="">
    <xsd:import namespace="93d15f5e-d1eb-4ab5-87e0-b0e666ac727c"/>
    <xsd:import namespace="1023ea03-6310-4bf4-9fac-b9bbf268a7c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15f5e-d1eb-4ab5-87e0-b0e666ac72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23ea03-6310-4bf4-9fac-b9bbf268a7c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5926C6A-B08D-43FA-A71A-640E51B809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BF869C-D809-460D-BBD7-5C04D8193E30}">
  <ds:schemaRefs>
    <ds:schemaRef ds:uri="1023ea03-6310-4bf4-9fac-b9bbf268a7c8"/>
    <ds:schemaRef ds:uri="93d15f5e-d1eb-4ab5-87e0-b0e666ac72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F4F00D4-A9B9-4ED6-8D29-9E89EF72FF04}">
  <ds:schemaRefs>
    <ds:schemaRef ds:uri="1023ea03-6310-4bf4-9fac-b9bbf268a7c8"/>
    <ds:schemaRef ds:uri="93d15f5e-d1eb-4ab5-87e0-b0e666ac727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68</Words>
  <Application>Microsoft Office PowerPoint</Application>
  <PresentationFormat>Widescreen</PresentationFormat>
  <Paragraphs>303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Arial Black</vt:lpstr>
      <vt:lpstr>Calibri</vt:lpstr>
      <vt:lpstr>Graphik</vt:lpstr>
      <vt:lpstr>Graphik Black</vt:lpstr>
      <vt:lpstr>Symbol</vt:lpstr>
      <vt:lpstr>2_US NG_2018 PPT__EnergyLines Template 16x9</vt:lpstr>
      <vt:lpstr>1_US NG_2018 PPT__EnergyLines Template 16x9</vt:lpstr>
      <vt:lpstr>2_Titles</vt:lpstr>
      <vt:lpstr>Content Layouts</vt:lpstr>
      <vt:lpstr>think-cell Folie</vt:lpstr>
      <vt:lpstr>think-cell Slide</vt:lpstr>
      <vt:lpstr>Workforce  Systems of Record</vt:lpstr>
      <vt:lpstr>Executive Summary</vt:lpstr>
      <vt:lpstr>Master Data Management</vt:lpstr>
      <vt:lpstr>Data Quality Management</vt:lpstr>
      <vt:lpstr>HR versus Finance Headcount Differences</vt:lpstr>
      <vt:lpstr>Workforce Data Improvements</vt:lpstr>
      <vt:lpstr>PowerPoint Presentation</vt:lpstr>
      <vt:lpstr>What’s been done</vt:lpstr>
      <vt:lpstr>Workforce Data Domain Findings</vt:lpstr>
      <vt:lpstr>Future State Architecture</vt:lpstr>
      <vt:lpstr>Workforce Data Domain Proposed Roadmap (Draft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Assessment  Summary Pack</dc:title>
  <dc:creator>Tim Reynolds</dc:creator>
  <cp:lastModifiedBy>Robertson, Daniel</cp:lastModifiedBy>
  <cp:revision>1</cp:revision>
  <dcterms:created xsi:type="dcterms:W3CDTF">2020-07-13T09:08:15Z</dcterms:created>
  <dcterms:modified xsi:type="dcterms:W3CDTF">2021-07-06T20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26E65E3C0F1D45AE3679C1F41F96BE</vt:lpwstr>
  </property>
</Properties>
</file>